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4"/>
  </p:sldMasterIdLst>
  <p:notesMasterIdLst>
    <p:notesMasterId r:id="rId41"/>
  </p:notesMasterIdLst>
  <p:handoutMasterIdLst>
    <p:handoutMasterId r:id="rId42"/>
  </p:handoutMasterIdLst>
  <p:sldIdLst>
    <p:sldId id="2147481893" r:id="rId5"/>
    <p:sldId id="2147481927" r:id="rId6"/>
    <p:sldId id="2147481928" r:id="rId7"/>
    <p:sldId id="527" r:id="rId8"/>
    <p:sldId id="2147481904" r:id="rId9"/>
    <p:sldId id="2147482073" r:id="rId10"/>
    <p:sldId id="2147482089" r:id="rId11"/>
    <p:sldId id="2147481985" r:id="rId12"/>
    <p:sldId id="2147481929" r:id="rId13"/>
    <p:sldId id="2147481982" r:id="rId14"/>
    <p:sldId id="2147482012" r:id="rId15"/>
    <p:sldId id="2147482017" r:id="rId16"/>
    <p:sldId id="2147482018" r:id="rId17"/>
    <p:sldId id="2147482019" r:id="rId18"/>
    <p:sldId id="2147481984" r:id="rId19"/>
    <p:sldId id="2147481983" r:id="rId20"/>
    <p:sldId id="644" r:id="rId21"/>
    <p:sldId id="2147481987" r:id="rId22"/>
    <p:sldId id="2147482037" r:id="rId23"/>
    <p:sldId id="2147482091" r:id="rId24"/>
    <p:sldId id="2147482038" r:id="rId25"/>
    <p:sldId id="2147482007" r:id="rId26"/>
    <p:sldId id="2147482020" r:id="rId27"/>
    <p:sldId id="2147482023" r:id="rId28"/>
    <p:sldId id="2147482024" r:id="rId29"/>
    <p:sldId id="2147482034" r:id="rId30"/>
    <p:sldId id="2147482035" r:id="rId31"/>
    <p:sldId id="2147482092" r:id="rId32"/>
    <p:sldId id="2147481992" r:id="rId33"/>
    <p:sldId id="2147482100" r:id="rId34"/>
    <p:sldId id="2147481991" r:id="rId35"/>
    <p:sldId id="2147482009" r:id="rId36"/>
    <p:sldId id="2147482094" r:id="rId37"/>
    <p:sldId id="647" r:id="rId38"/>
    <p:sldId id="2147482086" r:id="rId39"/>
    <p:sldId id="2147482087" r:id="rId40"/>
  </p:sldIdLst>
  <p:sldSz cx="12192000" cy="6858000"/>
  <p:notesSz cx="6858000" cy="9144000"/>
  <p:custDataLst>
    <p:tags r:id="rId43"/>
  </p:custDataLst>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6F6D6C"/>
    <a:srgbClr val="D18D85"/>
    <a:srgbClr val="525A72"/>
    <a:srgbClr val="D0CFD7"/>
    <a:srgbClr val="A4A3B2"/>
    <a:srgbClr val="92D14F"/>
    <a:srgbClr val="CFD6E8"/>
    <a:srgbClr val="F2F2F2"/>
    <a:srgbClr val="FD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7" d="100"/>
          <a:sy n="107" d="100"/>
        </p:scale>
        <p:origin x="714" y="102"/>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ndija Kirsteine (LV)" userId="5f25501a-2215-4bb3-9d9c-8d1484ffa7c1" providerId="ADAL" clId="{3A413530-888D-4629-9879-2C70247E2982}"/>
    <pc:docChg chg="custSel replTag">
      <pc:chgData name="Sindija Kirsteine (LV)" userId="5f25501a-2215-4bb3-9d9c-8d1484ffa7c1" providerId="ADAL" clId="{3A413530-888D-4629-9879-2C70247E2982}" dt="2024-07-04T15:15:37.111" v="24"/>
      <pc:docMkLst>
        <pc:docMk/>
      </pc:docMkLst>
    </pc:docChg>
  </pc:docChgLst>
  <pc:docChgLst>
    <pc:chgData name="Annemarija Apine (LV)" userId="546f5c59-3b8d-47fd-b739-a8fadc631053" providerId="ADAL" clId="{BDF03909-0851-4987-9580-2A249946517F}"/>
    <pc:docChg chg="undo custSel delSld modSld replTag">
      <pc:chgData name="Annemarija Apine (LV)" userId="546f5c59-3b8d-47fd-b739-a8fadc631053" providerId="ADAL" clId="{BDF03909-0851-4987-9580-2A249946517F}" dt="2024-06-27T08:50:54.947" v="152"/>
      <pc:docMkLst>
        <pc:docMk/>
      </pc:docMkLst>
      <pc:sldChg chg="delSp modSp mod">
        <pc:chgData name="Annemarija Apine (LV)" userId="546f5c59-3b8d-47fd-b739-a8fadc631053" providerId="ADAL" clId="{BDF03909-0851-4987-9580-2A249946517F}" dt="2024-06-27T06:40:41.788" v="84" actId="14100"/>
        <pc:sldMkLst>
          <pc:docMk/>
          <pc:sldMk cId="820934104" sldId="2147481983"/>
        </pc:sldMkLst>
        <pc:spChg chg="del">
          <ac:chgData name="Annemarija Apine (LV)" userId="546f5c59-3b8d-47fd-b739-a8fadc631053" providerId="ADAL" clId="{BDF03909-0851-4987-9580-2A249946517F}" dt="2024-06-27T06:40:12.326" v="77" actId="478"/>
          <ac:spMkLst>
            <pc:docMk/>
            <pc:sldMk cId="820934104" sldId="2147481983"/>
            <ac:spMk id="40" creationId="{0397F1B3-1DAC-781B-5BE5-08FA024DC19C}"/>
          </ac:spMkLst>
        </pc:spChg>
        <pc:spChg chg="mod">
          <ac:chgData name="Annemarija Apine (LV)" userId="546f5c59-3b8d-47fd-b739-a8fadc631053" providerId="ADAL" clId="{BDF03909-0851-4987-9580-2A249946517F}" dt="2024-06-27T06:40:02.319" v="74"/>
          <ac:spMkLst>
            <pc:docMk/>
            <pc:sldMk cId="820934104" sldId="2147481983"/>
            <ac:spMk id="41" creationId="{66A14158-E11A-E312-8696-ADD9D0E04629}"/>
          </ac:spMkLst>
        </pc:spChg>
        <pc:spChg chg="mod">
          <ac:chgData name="Annemarija Apine (LV)" userId="546f5c59-3b8d-47fd-b739-a8fadc631053" providerId="ADAL" clId="{BDF03909-0851-4987-9580-2A249946517F}" dt="2024-06-27T06:39:42.417" v="72" actId="14100"/>
          <ac:spMkLst>
            <pc:docMk/>
            <pc:sldMk cId="820934104" sldId="2147481983"/>
            <ac:spMk id="52" creationId="{54140961-D367-FFB1-E0FC-3F385487D472}"/>
          </ac:spMkLst>
        </pc:spChg>
        <pc:spChg chg="del">
          <ac:chgData name="Annemarija Apine (LV)" userId="546f5c59-3b8d-47fd-b739-a8fadc631053" providerId="ADAL" clId="{BDF03909-0851-4987-9580-2A249946517F}" dt="2024-06-27T06:39:38.319" v="69" actId="478"/>
          <ac:spMkLst>
            <pc:docMk/>
            <pc:sldMk cId="820934104" sldId="2147481983"/>
            <ac:spMk id="64" creationId="{C8839363-023E-6108-2610-F9869562BA65}"/>
          </ac:spMkLst>
        </pc:spChg>
        <pc:spChg chg="mod">
          <ac:chgData name="Annemarija Apine (LV)" userId="546f5c59-3b8d-47fd-b739-a8fadc631053" providerId="ADAL" clId="{BDF03909-0851-4987-9580-2A249946517F}" dt="2024-06-27T06:40:15.300" v="78" actId="14100"/>
          <ac:spMkLst>
            <pc:docMk/>
            <pc:sldMk cId="820934104" sldId="2147481983"/>
            <ac:spMk id="65" creationId="{6C9963BA-CB30-1A9A-495C-AC7D92B42F6A}"/>
          </ac:spMkLst>
        </pc:spChg>
        <pc:spChg chg="del">
          <ac:chgData name="Annemarija Apine (LV)" userId="546f5c59-3b8d-47fd-b739-a8fadc631053" providerId="ADAL" clId="{BDF03909-0851-4987-9580-2A249946517F}" dt="2024-06-27T06:39:39.282" v="71" actId="478"/>
          <ac:spMkLst>
            <pc:docMk/>
            <pc:sldMk cId="820934104" sldId="2147481983"/>
            <ac:spMk id="91" creationId="{923ED525-0203-6BC5-F3E8-8ABB7C0A1DD9}"/>
          </ac:spMkLst>
        </pc:spChg>
        <pc:spChg chg="del">
          <ac:chgData name="Annemarija Apine (LV)" userId="546f5c59-3b8d-47fd-b739-a8fadc631053" providerId="ADAL" clId="{BDF03909-0851-4987-9580-2A249946517F}" dt="2024-06-27T06:39:38.825" v="70" actId="478"/>
          <ac:spMkLst>
            <pc:docMk/>
            <pc:sldMk cId="820934104" sldId="2147481983"/>
            <ac:spMk id="92" creationId="{97672140-6C3A-9556-1AB0-06A807124770}"/>
          </ac:spMkLst>
        </pc:spChg>
        <pc:spChg chg="del">
          <ac:chgData name="Annemarija Apine (LV)" userId="546f5c59-3b8d-47fd-b739-a8fadc631053" providerId="ADAL" clId="{BDF03909-0851-4987-9580-2A249946517F}" dt="2024-06-27T06:40:04.386" v="76" actId="478"/>
          <ac:spMkLst>
            <pc:docMk/>
            <pc:sldMk cId="820934104" sldId="2147481983"/>
            <ac:spMk id="93" creationId="{D0E0A4D4-73EA-CBEB-4379-F0B1FF036634}"/>
          </ac:spMkLst>
        </pc:spChg>
        <pc:spChg chg="del">
          <ac:chgData name="Annemarija Apine (LV)" userId="546f5c59-3b8d-47fd-b739-a8fadc631053" providerId="ADAL" clId="{BDF03909-0851-4987-9580-2A249946517F}" dt="2024-06-27T06:40:03.750" v="75" actId="478"/>
          <ac:spMkLst>
            <pc:docMk/>
            <pc:sldMk cId="820934104" sldId="2147481983"/>
            <ac:spMk id="94" creationId="{1B45DCE4-892C-EC8B-4496-9FC8EDE7A80C}"/>
          </ac:spMkLst>
        </pc:spChg>
        <pc:cxnChg chg="mod">
          <ac:chgData name="Annemarija Apine (LV)" userId="546f5c59-3b8d-47fd-b739-a8fadc631053" providerId="ADAL" clId="{BDF03909-0851-4987-9580-2A249946517F}" dt="2024-06-27T06:40:41.788" v="84" actId="14100"/>
          <ac:cxnSpMkLst>
            <pc:docMk/>
            <pc:sldMk cId="820934104" sldId="2147481983"/>
            <ac:cxnSpMk id="6" creationId="{AA7A7FA2-43EB-E10E-9DB9-8125FF1E58FC}"/>
          </ac:cxnSpMkLst>
        </pc:cxnChg>
        <pc:cxnChg chg="mod">
          <ac:chgData name="Annemarija Apine (LV)" userId="546f5c59-3b8d-47fd-b739-a8fadc631053" providerId="ADAL" clId="{BDF03909-0851-4987-9580-2A249946517F}" dt="2024-06-27T06:39:45.717" v="73" actId="14100"/>
          <ac:cxnSpMkLst>
            <pc:docMk/>
            <pc:sldMk cId="820934104" sldId="2147481983"/>
            <ac:cxnSpMk id="55" creationId="{41BD9CB5-1387-FE6E-96DE-C1E83115FF49}"/>
          </ac:cxnSpMkLst>
        </pc:cxnChg>
        <pc:cxnChg chg="del">
          <ac:chgData name="Annemarija Apine (LV)" userId="546f5c59-3b8d-47fd-b739-a8fadc631053" providerId="ADAL" clId="{BDF03909-0851-4987-9580-2A249946517F}" dt="2024-06-27T06:40:33.282" v="83" actId="478"/>
          <ac:cxnSpMkLst>
            <pc:docMk/>
            <pc:sldMk cId="820934104" sldId="2147481983"/>
            <ac:cxnSpMk id="60" creationId="{88D7CFA4-9630-9E6E-9558-B995D1763B49}"/>
          </ac:cxnSpMkLst>
        </pc:cxnChg>
      </pc:sldChg>
      <pc:sldChg chg="modSp mod">
        <pc:chgData name="Annemarija Apine (LV)" userId="546f5c59-3b8d-47fd-b739-a8fadc631053" providerId="ADAL" clId="{BDF03909-0851-4987-9580-2A249946517F}" dt="2024-06-27T06:36:40.293" v="31" actId="20577"/>
        <pc:sldMkLst>
          <pc:docMk/>
          <pc:sldMk cId="1401595425" sldId="2147482018"/>
        </pc:sldMkLst>
        <pc:spChg chg="mod">
          <ac:chgData name="Annemarija Apine (LV)" userId="546f5c59-3b8d-47fd-b739-a8fadc631053" providerId="ADAL" clId="{BDF03909-0851-4987-9580-2A249946517F}" dt="2024-06-27T06:36:40.293" v="31" actId="20577"/>
          <ac:spMkLst>
            <pc:docMk/>
            <pc:sldMk cId="1401595425" sldId="2147482018"/>
            <ac:spMk id="76" creationId="{8793B610-11BB-3DD5-343E-D5A1842E54DF}"/>
          </ac:spMkLst>
        </pc:spChg>
      </pc:sldChg>
      <pc:sldChg chg="modSp mod">
        <pc:chgData name="Annemarija Apine (LV)" userId="546f5c59-3b8d-47fd-b739-a8fadc631053" providerId="ADAL" clId="{BDF03909-0851-4987-9580-2A249946517F}" dt="2024-06-27T06:38:51.848" v="64" actId="20577"/>
        <pc:sldMkLst>
          <pc:docMk/>
          <pc:sldMk cId="2403530007" sldId="2147482019"/>
        </pc:sldMkLst>
        <pc:spChg chg="mod">
          <ac:chgData name="Annemarija Apine (LV)" userId="546f5c59-3b8d-47fd-b739-a8fadc631053" providerId="ADAL" clId="{BDF03909-0851-4987-9580-2A249946517F}" dt="2024-06-27T06:38:19.426" v="53" actId="20577"/>
          <ac:spMkLst>
            <pc:docMk/>
            <pc:sldMk cId="2403530007" sldId="2147482019"/>
            <ac:spMk id="14" creationId="{4B888F26-7D1A-CA27-B5A8-6248A7263371}"/>
          </ac:spMkLst>
        </pc:spChg>
        <pc:spChg chg="mod">
          <ac:chgData name="Annemarija Apine (LV)" userId="546f5c59-3b8d-47fd-b739-a8fadc631053" providerId="ADAL" clId="{BDF03909-0851-4987-9580-2A249946517F}" dt="2024-06-27T06:37:13.777" v="44" actId="20577"/>
          <ac:spMkLst>
            <pc:docMk/>
            <pc:sldMk cId="2403530007" sldId="2147482019"/>
            <ac:spMk id="18" creationId="{257A3C35-39C9-A4E6-1837-31F170B2C97A}"/>
          </ac:spMkLst>
        </pc:spChg>
        <pc:spChg chg="mod">
          <ac:chgData name="Annemarija Apine (LV)" userId="546f5c59-3b8d-47fd-b739-a8fadc631053" providerId="ADAL" clId="{BDF03909-0851-4987-9580-2A249946517F}" dt="2024-06-27T06:38:37.220" v="60" actId="20577"/>
          <ac:spMkLst>
            <pc:docMk/>
            <pc:sldMk cId="2403530007" sldId="2147482019"/>
            <ac:spMk id="22" creationId="{BDC99A0B-8AB3-4918-5B31-2F9C4926A28C}"/>
          </ac:spMkLst>
        </pc:spChg>
        <pc:spChg chg="mod">
          <ac:chgData name="Annemarija Apine (LV)" userId="546f5c59-3b8d-47fd-b739-a8fadc631053" providerId="ADAL" clId="{BDF03909-0851-4987-9580-2A249946517F}" dt="2024-06-27T06:38:51.848" v="64" actId="20577"/>
          <ac:spMkLst>
            <pc:docMk/>
            <pc:sldMk cId="2403530007" sldId="2147482019"/>
            <ac:spMk id="32" creationId="{642FDFF0-C1EF-2DFC-03F4-C85494893547}"/>
          </ac:spMkLst>
        </pc:spChg>
        <pc:spChg chg="mod">
          <ac:chgData name="Annemarija Apine (LV)" userId="546f5c59-3b8d-47fd-b739-a8fadc631053" providerId="ADAL" clId="{BDF03909-0851-4987-9580-2A249946517F}" dt="2024-06-27T06:37:02.267" v="40" actId="20577"/>
          <ac:spMkLst>
            <pc:docMk/>
            <pc:sldMk cId="2403530007" sldId="2147482019"/>
            <ac:spMk id="36" creationId="{3C145E88-345E-DEB9-9ABA-4CC30EEE55EB}"/>
          </ac:spMkLst>
        </pc:spChg>
      </pc:sldChg>
      <pc:sldChg chg="del">
        <pc:chgData name="Annemarija Apine (LV)" userId="546f5c59-3b8d-47fd-b739-a8fadc631053" providerId="ADAL" clId="{BDF03909-0851-4987-9580-2A249946517F}" dt="2024-06-27T08:50:53.679" v="149" actId="47"/>
        <pc:sldMkLst>
          <pc:docMk/>
          <pc:sldMk cId="3379316605" sldId="2147482086"/>
        </pc:sldMkLst>
      </pc:sldChg>
      <pc:sldChg chg="del">
        <pc:chgData name="Annemarija Apine (LV)" userId="546f5c59-3b8d-47fd-b739-a8fadc631053" providerId="ADAL" clId="{BDF03909-0851-4987-9580-2A249946517F}" dt="2024-06-27T08:50:54.947" v="151" actId="47"/>
        <pc:sldMkLst>
          <pc:docMk/>
          <pc:sldMk cId="1080075523" sldId="2147482087"/>
        </pc:sldMkLst>
      </pc:sldChg>
      <pc:sldChg chg="modSp mod">
        <pc:chgData name="Annemarija Apine (LV)" userId="546f5c59-3b8d-47fd-b739-a8fadc631053" providerId="ADAL" clId="{BDF03909-0851-4987-9580-2A249946517F}" dt="2024-06-27T08:50:34.246" v="139" actId="404"/>
        <pc:sldMkLst>
          <pc:docMk/>
          <pc:sldMk cId="385369569" sldId="2147482100"/>
        </pc:sldMkLst>
        <pc:spChg chg="mod">
          <ac:chgData name="Annemarija Apine (LV)" userId="546f5c59-3b8d-47fd-b739-a8fadc631053" providerId="ADAL" clId="{BDF03909-0851-4987-9580-2A249946517F}" dt="2024-06-27T08:50:34.246" v="139" actId="404"/>
          <ac:spMkLst>
            <pc:docMk/>
            <pc:sldMk cId="385369569" sldId="2147482100"/>
            <ac:spMk id="7" creationId="{58051A40-6FB2-D129-6018-7981771593EF}"/>
          </ac:spMkLst>
        </pc:spChg>
      </pc:sldChg>
    </pc:docChg>
  </pc:docChgLst>
  <pc:docChgLst>
    <pc:chgData name="Annemarija Apine (LV)" userId="S::annemarija.apine@pwc.com::546f5c59-3b8d-47fd-b739-a8fadc631053" providerId="AD" clId="Web-{60C2AAEA-9650-5D83-409A-70BC955381A9}"/>
    <pc:docChg chg="addSld modSld">
      <pc:chgData name="Annemarija Apine (LV)" userId="S::annemarija.apine@pwc.com::546f5c59-3b8d-47fd-b739-a8fadc631053" providerId="AD" clId="Web-{60C2AAEA-9650-5D83-409A-70BC955381A9}" dt="2024-07-08T15:44:41.046" v="13" actId="20577"/>
      <pc:docMkLst>
        <pc:docMk/>
      </pc:docMkLst>
      <pc:sldChg chg="modSp add">
        <pc:chgData name="Annemarija Apine (LV)" userId="S::annemarija.apine@pwc.com::546f5c59-3b8d-47fd-b739-a8fadc631053" providerId="AD" clId="Web-{60C2AAEA-9650-5D83-409A-70BC955381A9}" dt="2024-07-08T15:44:41.046" v="13" actId="20577"/>
        <pc:sldMkLst>
          <pc:docMk/>
          <pc:sldMk cId="3379316605" sldId="2147482086"/>
        </pc:sldMkLst>
        <pc:spChg chg="mod">
          <ac:chgData name="Annemarija Apine (LV)" userId="S::annemarija.apine@pwc.com::546f5c59-3b8d-47fd-b739-a8fadc631053" providerId="AD" clId="Web-{60C2AAEA-9650-5D83-409A-70BC955381A9}" dt="2024-07-08T15:44:41.046" v="13" actId="20577"/>
          <ac:spMkLst>
            <pc:docMk/>
            <pc:sldMk cId="3379316605" sldId="2147482086"/>
            <ac:spMk id="7" creationId="{A168F800-7305-A09D-AF78-9EB408346FA0}"/>
          </ac:spMkLst>
        </pc:spChg>
      </pc:sldChg>
      <pc:sldChg chg="add">
        <pc:chgData name="Annemarija Apine (LV)" userId="S::annemarija.apine@pwc.com::546f5c59-3b8d-47fd-b739-a8fadc631053" providerId="AD" clId="Web-{60C2AAEA-9650-5D83-409A-70BC955381A9}" dt="2024-07-08T15:44:30.795" v="1"/>
        <pc:sldMkLst>
          <pc:docMk/>
          <pc:sldMk cId="1080075523" sldId="2147482087"/>
        </pc:sldMkLst>
      </pc:sldChg>
    </pc:docChg>
  </pc:docChgLst>
  <pc:docChgLst>
    <pc:chgData name="Annemarija Apine (LV)" userId="S::annemarija.apine@pwc.com::546f5c59-3b8d-47fd-b739-a8fadc631053" providerId="AD" clId="Web-{0E178D0B-92E3-9104-D5FE-66CFC6585ABD}"/>
    <pc:docChg chg="modSld sldOrd">
      <pc:chgData name="Annemarija Apine (LV)" userId="S::annemarija.apine@pwc.com::546f5c59-3b8d-47fd-b739-a8fadc631053" providerId="AD" clId="Web-{0E178D0B-92E3-9104-D5FE-66CFC6585ABD}" dt="2024-07-08T15:18:09.412" v="4"/>
      <pc:docMkLst>
        <pc:docMk/>
      </pc:docMkLst>
      <pc:sldChg chg="modSp">
        <pc:chgData name="Annemarija Apine (LV)" userId="S::annemarija.apine@pwc.com::546f5c59-3b8d-47fd-b739-a8fadc631053" providerId="AD" clId="Web-{0E178D0B-92E3-9104-D5FE-66CFC6585ABD}" dt="2024-07-08T15:18:03.005" v="2" actId="1076"/>
        <pc:sldMkLst>
          <pc:docMk/>
          <pc:sldMk cId="3627720504" sldId="2147481927"/>
        </pc:sldMkLst>
        <pc:spChg chg="mod">
          <ac:chgData name="Annemarija Apine (LV)" userId="S::annemarija.apine@pwc.com::546f5c59-3b8d-47fd-b739-a8fadc631053" providerId="AD" clId="Web-{0E178D0B-92E3-9104-D5FE-66CFC6585ABD}" dt="2024-07-08T15:18:03.005" v="2" actId="1076"/>
          <ac:spMkLst>
            <pc:docMk/>
            <pc:sldMk cId="3627720504" sldId="2147481927"/>
            <ac:spMk id="6" creationId="{2CB3F9F5-858C-1D21-4D13-EAEDABE2E74A}"/>
          </ac:spMkLst>
        </pc:spChg>
      </pc:sldChg>
      <pc:sldChg chg="ord">
        <pc:chgData name="Annemarija Apine (LV)" userId="S::annemarija.apine@pwc.com::546f5c59-3b8d-47fd-b739-a8fadc631053" providerId="AD" clId="Web-{0E178D0B-92E3-9104-D5FE-66CFC6585ABD}" dt="2024-07-08T15:18:09.412" v="4"/>
        <pc:sldMkLst>
          <pc:docMk/>
          <pc:sldMk cId="192098022" sldId="2147481928"/>
        </pc:sldMkLst>
      </pc:sldChg>
    </pc:docChg>
  </pc:docChgLst>
  <pc:docChgLst>
    <pc:chgData name="Annemarija Apine (LV)" userId="S::annemarija.apine@pwc.com::546f5c59-3b8d-47fd-b739-a8fadc631053" providerId="AD" clId="Web-{177C016A-BE0A-FA7A-09FF-51CC747B63F4}"/>
    <pc:docChg chg="modSld">
      <pc:chgData name="Annemarija Apine (LV)" userId="S::annemarija.apine@pwc.com::546f5c59-3b8d-47fd-b739-a8fadc631053" providerId="AD" clId="Web-{177C016A-BE0A-FA7A-09FF-51CC747B63F4}" dt="2024-07-08T15:44:54.550" v="0" actId="20577"/>
      <pc:docMkLst>
        <pc:docMk/>
      </pc:docMkLst>
      <pc:sldChg chg="modSp">
        <pc:chgData name="Annemarija Apine (LV)" userId="S::annemarija.apine@pwc.com::546f5c59-3b8d-47fd-b739-a8fadc631053" providerId="AD" clId="Web-{177C016A-BE0A-FA7A-09FF-51CC747B63F4}" dt="2024-07-08T15:44:54.550" v="0" actId="20577"/>
        <pc:sldMkLst>
          <pc:docMk/>
          <pc:sldMk cId="1080075523" sldId="2147482087"/>
        </pc:sldMkLst>
        <pc:spChg chg="mod">
          <ac:chgData name="Annemarija Apine (LV)" userId="S::annemarija.apine@pwc.com::546f5c59-3b8d-47fd-b739-a8fadc631053" providerId="AD" clId="Web-{177C016A-BE0A-FA7A-09FF-51CC747B63F4}" dt="2024-07-08T15:44:54.550" v="0" actId="20577"/>
          <ac:spMkLst>
            <pc:docMk/>
            <pc:sldMk cId="1080075523" sldId="2147482087"/>
            <ac:spMk id="7" creationId="{A168F800-7305-A09D-AF78-9EB408346FA0}"/>
          </ac:spMkLst>
        </pc:spChg>
      </pc:sldChg>
    </pc:docChg>
  </pc:docChgLst>
  <pc:docChgLst>
    <pc:chgData name="Annemarija Apine (LV)" userId="546f5c59-3b8d-47fd-b739-a8fadc631053" providerId="ADAL" clId="{B84B842D-2737-4C1A-AAE6-50B7BA4D7C85}"/>
    <pc:docChg chg="undo custSel modSld modMainMaster replTag">
      <pc:chgData name="Annemarija Apine (LV)" userId="546f5c59-3b8d-47fd-b739-a8fadc631053" providerId="ADAL" clId="{B84B842D-2737-4C1A-AAE6-50B7BA4D7C85}" dt="2024-07-08T10:10:36.140" v="653" actId="20577"/>
      <pc:docMkLst>
        <pc:docMk/>
      </pc:docMkLst>
      <pc:sldChg chg="modSp mod">
        <pc:chgData name="Annemarija Apine (LV)" userId="546f5c59-3b8d-47fd-b739-a8fadc631053" providerId="ADAL" clId="{B84B842D-2737-4C1A-AAE6-50B7BA4D7C85}" dt="2024-07-08T09:34:00.300" v="150" actId="20577"/>
        <pc:sldMkLst>
          <pc:docMk/>
          <pc:sldMk cId="0" sldId="527"/>
        </pc:sldMkLst>
        <pc:spChg chg="mod">
          <ac:chgData name="Annemarija Apine (LV)" userId="546f5c59-3b8d-47fd-b739-a8fadc631053" providerId="ADAL" clId="{B84B842D-2737-4C1A-AAE6-50B7BA4D7C85}" dt="2024-07-08T09:34:00.300" v="150" actId="20577"/>
          <ac:spMkLst>
            <pc:docMk/>
            <pc:sldMk cId="0" sldId="527"/>
            <ac:spMk id="12" creationId="{2B9CA849-0AC4-22D0-C79E-0B127C7E1E88}"/>
          </ac:spMkLst>
        </pc:spChg>
      </pc:sldChg>
      <pc:sldChg chg="addSp delSp modSp mod">
        <pc:chgData name="Annemarija Apine (LV)" userId="546f5c59-3b8d-47fd-b739-a8fadc631053" providerId="ADAL" clId="{B84B842D-2737-4C1A-AAE6-50B7BA4D7C85}" dt="2024-07-08T09:56:01.978" v="440" actId="207"/>
        <pc:sldMkLst>
          <pc:docMk/>
          <pc:sldMk cId="4093114022" sldId="644"/>
        </pc:sldMkLst>
        <pc:spChg chg="mod">
          <ac:chgData name="Annemarija Apine (LV)" userId="546f5c59-3b8d-47fd-b739-a8fadc631053" providerId="ADAL" clId="{B84B842D-2737-4C1A-AAE6-50B7BA4D7C85}" dt="2024-07-08T09:37:13.672" v="267"/>
          <ac:spMkLst>
            <pc:docMk/>
            <pc:sldMk cId="4093114022" sldId="644"/>
            <ac:spMk id="5" creationId="{9019D384-AF51-6A11-1121-E2FB9EDE90CC}"/>
          </ac:spMkLst>
        </pc:spChg>
        <pc:spChg chg="mod">
          <ac:chgData name="Annemarija Apine (LV)" userId="546f5c59-3b8d-47fd-b739-a8fadc631053" providerId="ADAL" clId="{B84B842D-2737-4C1A-AAE6-50B7BA4D7C85}" dt="2024-07-08T09:37:13.672" v="267"/>
          <ac:spMkLst>
            <pc:docMk/>
            <pc:sldMk cId="4093114022" sldId="644"/>
            <ac:spMk id="6" creationId="{663BE64C-E6B9-B456-9EF0-96B2A370B0E5}"/>
          </ac:spMkLst>
        </pc:spChg>
        <pc:spChg chg="mod">
          <ac:chgData name="Annemarija Apine (LV)" userId="546f5c59-3b8d-47fd-b739-a8fadc631053" providerId="ADAL" clId="{B84B842D-2737-4C1A-AAE6-50B7BA4D7C85}" dt="2024-07-08T09:37:13.672" v="267"/>
          <ac:spMkLst>
            <pc:docMk/>
            <pc:sldMk cId="4093114022" sldId="644"/>
            <ac:spMk id="7" creationId="{993E28E7-507E-F7BE-3E84-0EA77E93084F}"/>
          </ac:spMkLst>
        </pc:spChg>
        <pc:spChg chg="mod">
          <ac:chgData name="Annemarija Apine (LV)" userId="546f5c59-3b8d-47fd-b739-a8fadc631053" providerId="ADAL" clId="{B84B842D-2737-4C1A-AAE6-50B7BA4D7C85}" dt="2024-07-08T09:37:13.672" v="267"/>
          <ac:spMkLst>
            <pc:docMk/>
            <pc:sldMk cId="4093114022" sldId="644"/>
            <ac:spMk id="8" creationId="{8E4F55A8-22BB-87F5-DFAD-BEE795EC10EF}"/>
          </ac:spMkLst>
        </pc:spChg>
        <pc:spChg chg="mod">
          <ac:chgData name="Annemarija Apine (LV)" userId="546f5c59-3b8d-47fd-b739-a8fadc631053" providerId="ADAL" clId="{B84B842D-2737-4C1A-AAE6-50B7BA4D7C85}" dt="2024-07-08T09:56:01.978" v="440" actId="207"/>
          <ac:spMkLst>
            <pc:docMk/>
            <pc:sldMk cId="4093114022" sldId="644"/>
            <ac:spMk id="28" creationId="{B76B17B5-8B5C-F3CE-8063-0A63948D78B6}"/>
          </ac:spMkLst>
        </pc:spChg>
        <pc:grpChg chg="add mod">
          <ac:chgData name="Annemarija Apine (LV)" userId="546f5c59-3b8d-47fd-b739-a8fadc631053" providerId="ADAL" clId="{B84B842D-2737-4C1A-AAE6-50B7BA4D7C85}" dt="2024-07-08T09:37:13.672" v="267"/>
          <ac:grpSpMkLst>
            <pc:docMk/>
            <pc:sldMk cId="4093114022" sldId="644"/>
            <ac:grpSpMk id="3" creationId="{9BF140C9-D585-F7D5-8EF3-F658F637BB04}"/>
          </ac:grpSpMkLst>
        </pc:grpChg>
        <pc:grpChg chg="del">
          <ac:chgData name="Annemarija Apine (LV)" userId="546f5c59-3b8d-47fd-b739-a8fadc631053" providerId="ADAL" clId="{B84B842D-2737-4C1A-AAE6-50B7BA4D7C85}" dt="2024-07-08T09:37:13.460" v="266" actId="478"/>
          <ac:grpSpMkLst>
            <pc:docMk/>
            <pc:sldMk cId="4093114022" sldId="644"/>
            <ac:grpSpMk id="11" creationId="{F69FC736-4A16-6576-C369-B5F3F947737C}"/>
          </ac:grpSpMkLst>
        </pc:grpChg>
      </pc:sldChg>
      <pc:sldChg chg="modSp mod">
        <pc:chgData name="Annemarija Apine (LV)" userId="546f5c59-3b8d-47fd-b739-a8fadc631053" providerId="ADAL" clId="{B84B842D-2737-4C1A-AAE6-50B7BA4D7C85}" dt="2024-07-08T10:10:36.140" v="653" actId="20577"/>
        <pc:sldMkLst>
          <pc:docMk/>
          <pc:sldMk cId="3158159671" sldId="647"/>
        </pc:sldMkLst>
        <pc:spChg chg="mod">
          <ac:chgData name="Annemarija Apine (LV)" userId="546f5c59-3b8d-47fd-b739-a8fadc631053" providerId="ADAL" clId="{B84B842D-2737-4C1A-AAE6-50B7BA4D7C85}" dt="2024-07-08T10:09:56.535" v="650" actId="20577"/>
          <ac:spMkLst>
            <pc:docMk/>
            <pc:sldMk cId="3158159671" sldId="647"/>
            <ac:spMk id="29" creationId="{6C868474-8FA5-9D0A-A7DE-4C5F33CDA8A6}"/>
          </ac:spMkLst>
        </pc:spChg>
        <pc:spChg chg="mod">
          <ac:chgData name="Annemarija Apine (LV)" userId="546f5c59-3b8d-47fd-b739-a8fadc631053" providerId="ADAL" clId="{B84B842D-2737-4C1A-AAE6-50B7BA4D7C85}" dt="2024-07-08T10:10:36.140" v="653" actId="20577"/>
          <ac:spMkLst>
            <pc:docMk/>
            <pc:sldMk cId="3158159671" sldId="647"/>
            <ac:spMk id="36" creationId="{2D8E69C8-6B9D-7B36-6B28-D62A2C35F158}"/>
          </ac:spMkLst>
        </pc:spChg>
      </pc:sldChg>
      <pc:sldChg chg="modSp mod">
        <pc:chgData name="Annemarija Apine (LV)" userId="546f5c59-3b8d-47fd-b739-a8fadc631053" providerId="ADAL" clId="{B84B842D-2737-4C1A-AAE6-50B7BA4D7C85}" dt="2024-07-08T09:35:27.081" v="177" actId="207"/>
        <pc:sldMkLst>
          <pc:docMk/>
          <pc:sldMk cId="3636101944" sldId="2147481904"/>
        </pc:sldMkLst>
        <pc:spChg chg="mod">
          <ac:chgData name="Annemarija Apine (LV)" userId="546f5c59-3b8d-47fd-b739-a8fadc631053" providerId="ADAL" clId="{B84B842D-2737-4C1A-AAE6-50B7BA4D7C85}" dt="2024-07-08T09:35:14.418" v="172" actId="20577"/>
          <ac:spMkLst>
            <pc:docMk/>
            <pc:sldMk cId="3636101944" sldId="2147481904"/>
            <ac:spMk id="3" creationId="{9C6D97C2-F236-452B-18FC-09F24D1CEA02}"/>
          </ac:spMkLst>
        </pc:spChg>
        <pc:spChg chg="mod">
          <ac:chgData name="Annemarija Apine (LV)" userId="546f5c59-3b8d-47fd-b739-a8fadc631053" providerId="ADAL" clId="{B84B842D-2737-4C1A-AAE6-50B7BA4D7C85}" dt="2024-07-08T09:35:27.081" v="177" actId="207"/>
          <ac:spMkLst>
            <pc:docMk/>
            <pc:sldMk cId="3636101944" sldId="2147481904"/>
            <ac:spMk id="19" creationId="{6D93C598-4DC4-6294-0F5A-C6C4CCAD941D}"/>
          </ac:spMkLst>
        </pc:spChg>
        <pc:spChg chg="mod">
          <ac:chgData name="Annemarija Apine (LV)" userId="546f5c59-3b8d-47fd-b739-a8fadc631053" providerId="ADAL" clId="{B84B842D-2737-4C1A-AAE6-50B7BA4D7C85}" dt="2024-07-08T09:34:39.429" v="154"/>
          <ac:spMkLst>
            <pc:docMk/>
            <pc:sldMk cId="3636101944" sldId="2147481904"/>
            <ac:spMk id="21" creationId="{A83B97BA-1DFF-D418-E599-48D273ACB0E7}"/>
          </ac:spMkLst>
        </pc:spChg>
        <pc:spChg chg="mod">
          <ac:chgData name="Annemarija Apine (LV)" userId="546f5c59-3b8d-47fd-b739-a8fadc631053" providerId="ADAL" clId="{B84B842D-2737-4C1A-AAE6-50B7BA4D7C85}" dt="2024-07-08T09:34:46.300" v="157"/>
          <ac:spMkLst>
            <pc:docMk/>
            <pc:sldMk cId="3636101944" sldId="2147481904"/>
            <ac:spMk id="23" creationId="{9B7E2143-ADE3-A002-B6C6-A0CB8CD86B3E}"/>
          </ac:spMkLst>
        </pc:spChg>
        <pc:spChg chg="mod">
          <ac:chgData name="Annemarija Apine (LV)" userId="546f5c59-3b8d-47fd-b739-a8fadc631053" providerId="ADAL" clId="{B84B842D-2737-4C1A-AAE6-50B7BA4D7C85}" dt="2024-07-08T09:35:10.343" v="166"/>
          <ac:spMkLst>
            <pc:docMk/>
            <pc:sldMk cId="3636101944" sldId="2147481904"/>
            <ac:spMk id="28" creationId="{7B958969-4482-9D1E-A32C-E58B9CA693ED}"/>
          </ac:spMkLst>
        </pc:spChg>
        <pc:spChg chg="mod">
          <ac:chgData name="Annemarija Apine (LV)" userId="546f5c59-3b8d-47fd-b739-a8fadc631053" providerId="ADAL" clId="{B84B842D-2737-4C1A-AAE6-50B7BA4D7C85}" dt="2024-07-08T09:34:51.964" v="160"/>
          <ac:spMkLst>
            <pc:docMk/>
            <pc:sldMk cId="3636101944" sldId="2147481904"/>
            <ac:spMk id="32" creationId="{8ABFBFDC-CA0E-4731-3A1F-4825867FD4CF}"/>
          </ac:spMkLst>
        </pc:spChg>
        <pc:spChg chg="mod">
          <ac:chgData name="Annemarija Apine (LV)" userId="546f5c59-3b8d-47fd-b739-a8fadc631053" providerId="ADAL" clId="{B84B842D-2737-4C1A-AAE6-50B7BA4D7C85}" dt="2024-07-08T09:35:04.119" v="163"/>
          <ac:spMkLst>
            <pc:docMk/>
            <pc:sldMk cId="3636101944" sldId="2147481904"/>
            <ac:spMk id="36" creationId="{F89196AB-4FF3-4A10-3162-92713233FEE4}"/>
          </ac:spMkLst>
        </pc:spChg>
      </pc:sldChg>
      <pc:sldChg chg="modSp mod">
        <pc:chgData name="Annemarija Apine (LV)" userId="546f5c59-3b8d-47fd-b739-a8fadc631053" providerId="ADAL" clId="{B84B842D-2737-4C1A-AAE6-50B7BA4D7C85}" dt="2024-07-08T09:33:27.558" v="133" actId="12788"/>
        <pc:sldMkLst>
          <pc:docMk/>
          <pc:sldMk cId="3627720504" sldId="2147481927"/>
        </pc:sldMkLst>
        <pc:spChg chg="mod">
          <ac:chgData name="Annemarija Apine (LV)" userId="546f5c59-3b8d-47fd-b739-a8fadc631053" providerId="ADAL" clId="{B84B842D-2737-4C1A-AAE6-50B7BA4D7C85}" dt="2024-07-08T09:32:15.532" v="100" actId="20577"/>
          <ac:spMkLst>
            <pc:docMk/>
            <pc:sldMk cId="3627720504" sldId="2147481927"/>
            <ac:spMk id="3" creationId="{4EF6DB77-182C-C281-1C2F-C2E2D9AB6583}"/>
          </ac:spMkLst>
        </pc:spChg>
        <pc:spChg chg="mod">
          <ac:chgData name="Annemarija Apine (LV)" userId="546f5c59-3b8d-47fd-b739-a8fadc631053" providerId="ADAL" clId="{B84B842D-2737-4C1A-AAE6-50B7BA4D7C85}" dt="2024-07-08T09:33:17.487" v="132" actId="20577"/>
          <ac:spMkLst>
            <pc:docMk/>
            <pc:sldMk cId="3627720504" sldId="2147481927"/>
            <ac:spMk id="4" creationId="{DE559977-5422-3158-C786-2983A20A2674}"/>
          </ac:spMkLst>
        </pc:spChg>
        <pc:spChg chg="mod">
          <ac:chgData name="Annemarija Apine (LV)" userId="546f5c59-3b8d-47fd-b739-a8fadc631053" providerId="ADAL" clId="{B84B842D-2737-4C1A-AAE6-50B7BA4D7C85}" dt="2024-07-08T09:32:11.924" v="91" actId="20577"/>
          <ac:spMkLst>
            <pc:docMk/>
            <pc:sldMk cId="3627720504" sldId="2147481927"/>
            <ac:spMk id="6" creationId="{2CB3F9F5-858C-1D21-4D13-EAEDABE2E74A}"/>
          </ac:spMkLst>
        </pc:spChg>
        <pc:spChg chg="mod">
          <ac:chgData name="Annemarija Apine (LV)" userId="546f5c59-3b8d-47fd-b739-a8fadc631053" providerId="ADAL" clId="{B84B842D-2737-4C1A-AAE6-50B7BA4D7C85}" dt="2024-07-08T09:33:27.558" v="133" actId="12788"/>
          <ac:spMkLst>
            <pc:docMk/>
            <pc:sldMk cId="3627720504" sldId="2147481927"/>
            <ac:spMk id="8" creationId="{B6BFA0E2-7135-FFE5-3283-2EDC43146D38}"/>
          </ac:spMkLst>
        </pc:spChg>
        <pc:spChg chg="mod">
          <ac:chgData name="Annemarija Apine (LV)" userId="546f5c59-3b8d-47fd-b739-a8fadc631053" providerId="ADAL" clId="{B84B842D-2737-4C1A-AAE6-50B7BA4D7C85}" dt="2024-07-08T09:33:27.558" v="133" actId="12788"/>
          <ac:spMkLst>
            <pc:docMk/>
            <pc:sldMk cId="3627720504" sldId="2147481927"/>
            <ac:spMk id="25" creationId="{014F40D3-F5E9-404A-8FA7-2C2BFB358B3B}"/>
          </ac:spMkLst>
        </pc:spChg>
      </pc:sldChg>
      <pc:sldChg chg="modSp mod">
        <pc:chgData name="Annemarija Apine (LV)" userId="546f5c59-3b8d-47fd-b739-a8fadc631053" providerId="ADAL" clId="{B84B842D-2737-4C1A-AAE6-50B7BA4D7C85}" dt="2024-07-08T09:32:49.855" v="123" actId="20577"/>
        <pc:sldMkLst>
          <pc:docMk/>
          <pc:sldMk cId="192098022" sldId="2147481928"/>
        </pc:sldMkLst>
        <pc:spChg chg="mod">
          <ac:chgData name="Annemarija Apine (LV)" userId="546f5c59-3b8d-47fd-b739-a8fadc631053" providerId="ADAL" clId="{B84B842D-2737-4C1A-AAE6-50B7BA4D7C85}" dt="2024-07-08T09:32:49.855" v="123" actId="20577"/>
          <ac:spMkLst>
            <pc:docMk/>
            <pc:sldMk cId="192098022" sldId="2147481928"/>
            <ac:spMk id="6" creationId="{2CB3F9F5-858C-1D21-4D13-EAEDABE2E74A}"/>
          </ac:spMkLst>
        </pc:spChg>
      </pc:sldChg>
      <pc:sldChg chg="addSp delSp modSp mod">
        <pc:chgData name="Annemarija Apine (LV)" userId="546f5c59-3b8d-47fd-b739-a8fadc631053" providerId="ADAL" clId="{B84B842D-2737-4C1A-AAE6-50B7BA4D7C85}" dt="2024-07-08T09:39:11.562" v="326" actId="20577"/>
        <pc:sldMkLst>
          <pc:docMk/>
          <pc:sldMk cId="3229074756" sldId="2147481929"/>
        </pc:sldMkLst>
        <pc:spChg chg="mod">
          <ac:chgData name="Annemarija Apine (LV)" userId="546f5c59-3b8d-47fd-b739-a8fadc631053" providerId="ADAL" clId="{B84B842D-2737-4C1A-AAE6-50B7BA4D7C85}" dt="2024-07-08T09:39:11.562" v="326" actId="20577"/>
          <ac:spMkLst>
            <pc:docMk/>
            <pc:sldMk cId="3229074756" sldId="2147481929"/>
            <ac:spMk id="2" creationId="{EC47296D-9568-ED7D-0457-80174E2BF2F8}"/>
          </ac:spMkLst>
        </pc:spChg>
        <pc:spChg chg="mod">
          <ac:chgData name="Annemarija Apine (LV)" userId="546f5c59-3b8d-47fd-b739-a8fadc631053" providerId="ADAL" clId="{B84B842D-2737-4C1A-AAE6-50B7BA4D7C85}" dt="2024-07-08T09:36:43.306" v="241"/>
          <ac:spMkLst>
            <pc:docMk/>
            <pc:sldMk cId="3229074756" sldId="2147481929"/>
            <ac:spMk id="14" creationId="{396553E0-B0D4-2AFD-DF20-A690E7A67AA8}"/>
          </ac:spMkLst>
        </pc:spChg>
        <pc:spChg chg="mod">
          <ac:chgData name="Annemarija Apine (LV)" userId="546f5c59-3b8d-47fd-b739-a8fadc631053" providerId="ADAL" clId="{B84B842D-2737-4C1A-AAE6-50B7BA4D7C85}" dt="2024-07-08T09:36:43.306" v="241"/>
          <ac:spMkLst>
            <pc:docMk/>
            <pc:sldMk cId="3229074756" sldId="2147481929"/>
            <ac:spMk id="15" creationId="{CAB606C4-E7BF-430B-51B8-1D4B74BFC718}"/>
          </ac:spMkLst>
        </pc:spChg>
        <pc:spChg chg="mod">
          <ac:chgData name="Annemarija Apine (LV)" userId="546f5c59-3b8d-47fd-b739-a8fadc631053" providerId="ADAL" clId="{B84B842D-2737-4C1A-AAE6-50B7BA4D7C85}" dt="2024-07-08T09:36:43.306" v="241"/>
          <ac:spMkLst>
            <pc:docMk/>
            <pc:sldMk cId="3229074756" sldId="2147481929"/>
            <ac:spMk id="16" creationId="{4D9AD624-5A23-DCB8-5007-78ADEBBF280C}"/>
          </ac:spMkLst>
        </pc:spChg>
        <pc:spChg chg="mod">
          <ac:chgData name="Annemarija Apine (LV)" userId="546f5c59-3b8d-47fd-b739-a8fadc631053" providerId="ADAL" clId="{B84B842D-2737-4C1A-AAE6-50B7BA4D7C85}" dt="2024-07-08T09:36:43.306" v="241"/>
          <ac:spMkLst>
            <pc:docMk/>
            <pc:sldMk cId="3229074756" sldId="2147481929"/>
            <ac:spMk id="17" creationId="{25F38FB2-9D3E-D8D3-9890-963A63CB6F8F}"/>
          </ac:spMkLst>
        </pc:spChg>
        <pc:grpChg chg="del">
          <ac:chgData name="Annemarija Apine (LV)" userId="546f5c59-3b8d-47fd-b739-a8fadc631053" providerId="ADAL" clId="{B84B842D-2737-4C1A-AAE6-50B7BA4D7C85}" dt="2024-07-08T09:36:43.096" v="240" actId="478"/>
          <ac:grpSpMkLst>
            <pc:docMk/>
            <pc:sldMk cId="3229074756" sldId="2147481929"/>
            <ac:grpSpMk id="3" creationId="{07648A01-9EAA-EE3B-87A7-B28CB5C62283}"/>
          </ac:grpSpMkLst>
        </pc:grpChg>
        <pc:grpChg chg="add mod">
          <ac:chgData name="Annemarija Apine (LV)" userId="546f5c59-3b8d-47fd-b739-a8fadc631053" providerId="ADAL" clId="{B84B842D-2737-4C1A-AAE6-50B7BA4D7C85}" dt="2024-07-08T09:36:43.306" v="241"/>
          <ac:grpSpMkLst>
            <pc:docMk/>
            <pc:sldMk cId="3229074756" sldId="2147481929"/>
            <ac:grpSpMk id="13" creationId="{88329574-6FFF-1613-9534-EA74F8187B9B}"/>
          </ac:grpSpMkLst>
        </pc:grpChg>
      </pc:sldChg>
      <pc:sldChg chg="addSp delSp modSp mod">
        <pc:chgData name="Annemarija Apine (LV)" userId="546f5c59-3b8d-47fd-b739-a8fadc631053" providerId="ADAL" clId="{B84B842D-2737-4C1A-AAE6-50B7BA4D7C85}" dt="2024-07-08T09:36:47.193" v="244"/>
        <pc:sldMkLst>
          <pc:docMk/>
          <pc:sldMk cId="2214180997" sldId="2147481982"/>
        </pc:sldMkLst>
        <pc:spChg chg="mod">
          <ac:chgData name="Annemarija Apine (LV)" userId="546f5c59-3b8d-47fd-b739-a8fadc631053" providerId="ADAL" clId="{B84B842D-2737-4C1A-AAE6-50B7BA4D7C85}" dt="2024-07-08T09:36:47.193" v="244"/>
          <ac:spMkLst>
            <pc:docMk/>
            <pc:sldMk cId="2214180997" sldId="2147481982"/>
            <ac:spMk id="10" creationId="{AF5D28E6-B66B-85F7-8B71-6921CEC0E8B1}"/>
          </ac:spMkLst>
        </pc:spChg>
        <pc:spChg chg="mod">
          <ac:chgData name="Annemarija Apine (LV)" userId="546f5c59-3b8d-47fd-b739-a8fadc631053" providerId="ADAL" clId="{B84B842D-2737-4C1A-AAE6-50B7BA4D7C85}" dt="2024-07-08T09:36:47.193" v="244"/>
          <ac:spMkLst>
            <pc:docMk/>
            <pc:sldMk cId="2214180997" sldId="2147481982"/>
            <ac:spMk id="11" creationId="{C3CA6108-452D-373A-94AB-133BD2EE246A}"/>
          </ac:spMkLst>
        </pc:spChg>
        <pc:spChg chg="mod">
          <ac:chgData name="Annemarija Apine (LV)" userId="546f5c59-3b8d-47fd-b739-a8fadc631053" providerId="ADAL" clId="{B84B842D-2737-4C1A-AAE6-50B7BA4D7C85}" dt="2024-07-08T09:36:47.193" v="244"/>
          <ac:spMkLst>
            <pc:docMk/>
            <pc:sldMk cId="2214180997" sldId="2147481982"/>
            <ac:spMk id="12" creationId="{01CD7EEA-DE59-0783-535D-DCB1FE28F935}"/>
          </ac:spMkLst>
        </pc:spChg>
        <pc:spChg chg="mod">
          <ac:chgData name="Annemarija Apine (LV)" userId="546f5c59-3b8d-47fd-b739-a8fadc631053" providerId="ADAL" clId="{B84B842D-2737-4C1A-AAE6-50B7BA4D7C85}" dt="2024-07-08T09:36:47.193" v="244"/>
          <ac:spMkLst>
            <pc:docMk/>
            <pc:sldMk cId="2214180997" sldId="2147481982"/>
            <ac:spMk id="13" creationId="{721855DF-F64C-ABA0-1244-883DC5BF61F8}"/>
          </ac:spMkLst>
        </pc:spChg>
        <pc:grpChg chg="del">
          <ac:chgData name="Annemarija Apine (LV)" userId="546f5c59-3b8d-47fd-b739-a8fadc631053" providerId="ADAL" clId="{B84B842D-2737-4C1A-AAE6-50B7BA4D7C85}" dt="2024-07-08T09:36:46.910" v="243" actId="478"/>
          <ac:grpSpMkLst>
            <pc:docMk/>
            <pc:sldMk cId="2214180997" sldId="2147481982"/>
            <ac:grpSpMk id="3" creationId="{B6EA76FF-7147-D9CF-5816-786136EB05A0}"/>
          </ac:grpSpMkLst>
        </pc:grpChg>
        <pc:grpChg chg="add mod">
          <ac:chgData name="Annemarija Apine (LV)" userId="546f5c59-3b8d-47fd-b739-a8fadc631053" providerId="ADAL" clId="{B84B842D-2737-4C1A-AAE6-50B7BA4D7C85}" dt="2024-07-08T09:36:47.193" v="244"/>
          <ac:grpSpMkLst>
            <pc:docMk/>
            <pc:sldMk cId="2214180997" sldId="2147481982"/>
            <ac:grpSpMk id="9" creationId="{03E2E82C-D34E-A8CB-B44F-64EFEFB4F96A}"/>
          </ac:grpSpMkLst>
        </pc:grpChg>
      </pc:sldChg>
      <pc:sldChg chg="addSp delSp modSp mod">
        <pc:chgData name="Annemarija Apine (LV)" userId="546f5c59-3b8d-47fd-b739-a8fadc631053" providerId="ADAL" clId="{B84B842D-2737-4C1A-AAE6-50B7BA4D7C85}" dt="2024-07-08T09:37:09.689" v="264"/>
        <pc:sldMkLst>
          <pc:docMk/>
          <pc:sldMk cId="820934104" sldId="2147481983"/>
        </pc:sldMkLst>
        <pc:spChg chg="mod">
          <ac:chgData name="Annemarija Apine (LV)" userId="546f5c59-3b8d-47fd-b739-a8fadc631053" providerId="ADAL" clId="{B84B842D-2737-4C1A-AAE6-50B7BA4D7C85}" dt="2024-07-08T09:37:09.689" v="264"/>
          <ac:spMkLst>
            <pc:docMk/>
            <pc:sldMk cId="820934104" sldId="2147481983"/>
            <ac:spMk id="24" creationId="{94BACA83-F8C2-1EAF-3C01-390036A69907}"/>
          </ac:spMkLst>
        </pc:spChg>
        <pc:spChg chg="mod">
          <ac:chgData name="Annemarija Apine (LV)" userId="546f5c59-3b8d-47fd-b739-a8fadc631053" providerId="ADAL" clId="{B84B842D-2737-4C1A-AAE6-50B7BA4D7C85}" dt="2024-07-08T09:37:09.689" v="264"/>
          <ac:spMkLst>
            <pc:docMk/>
            <pc:sldMk cId="820934104" sldId="2147481983"/>
            <ac:spMk id="25" creationId="{9860A92C-079F-356C-8929-182157A10D09}"/>
          </ac:spMkLst>
        </pc:spChg>
        <pc:spChg chg="mod">
          <ac:chgData name="Annemarija Apine (LV)" userId="546f5c59-3b8d-47fd-b739-a8fadc631053" providerId="ADAL" clId="{B84B842D-2737-4C1A-AAE6-50B7BA4D7C85}" dt="2024-07-08T09:37:09.689" v="264"/>
          <ac:spMkLst>
            <pc:docMk/>
            <pc:sldMk cId="820934104" sldId="2147481983"/>
            <ac:spMk id="26" creationId="{70A80D55-9055-7844-A385-96A0354797B5}"/>
          </ac:spMkLst>
        </pc:spChg>
        <pc:spChg chg="mod">
          <ac:chgData name="Annemarija Apine (LV)" userId="546f5c59-3b8d-47fd-b739-a8fadc631053" providerId="ADAL" clId="{B84B842D-2737-4C1A-AAE6-50B7BA4D7C85}" dt="2024-07-08T09:37:09.689" v="264"/>
          <ac:spMkLst>
            <pc:docMk/>
            <pc:sldMk cId="820934104" sldId="2147481983"/>
            <ac:spMk id="27" creationId="{41C6A850-80F5-5127-CF45-A3B85E9D5902}"/>
          </ac:spMkLst>
        </pc:spChg>
        <pc:grpChg chg="del">
          <ac:chgData name="Annemarija Apine (LV)" userId="546f5c59-3b8d-47fd-b739-a8fadc631053" providerId="ADAL" clId="{B84B842D-2737-4C1A-AAE6-50B7BA4D7C85}" dt="2024-07-08T09:37:09.451" v="263" actId="478"/>
          <ac:grpSpMkLst>
            <pc:docMk/>
            <pc:sldMk cId="820934104" sldId="2147481983"/>
            <ac:grpSpMk id="3" creationId="{0C4FC407-66FD-8DBA-7A88-7F018D8C046A}"/>
          </ac:grpSpMkLst>
        </pc:grpChg>
        <pc:grpChg chg="add mod">
          <ac:chgData name="Annemarija Apine (LV)" userId="546f5c59-3b8d-47fd-b739-a8fadc631053" providerId="ADAL" clId="{B84B842D-2737-4C1A-AAE6-50B7BA4D7C85}" dt="2024-07-08T09:37:09.689" v="264"/>
          <ac:grpSpMkLst>
            <pc:docMk/>
            <pc:sldMk cId="820934104" sldId="2147481983"/>
            <ac:grpSpMk id="11" creationId="{2847BDC1-3405-125F-0BEA-DC9076BC9164}"/>
          </ac:grpSpMkLst>
        </pc:grpChg>
      </pc:sldChg>
      <pc:sldChg chg="addSp delSp modSp mod">
        <pc:chgData name="Annemarija Apine (LV)" userId="546f5c59-3b8d-47fd-b739-a8fadc631053" providerId="ADAL" clId="{B84B842D-2737-4C1A-AAE6-50B7BA4D7C85}" dt="2024-07-08T09:55:33.541" v="437" actId="553"/>
        <pc:sldMkLst>
          <pc:docMk/>
          <pc:sldMk cId="28118731" sldId="2147481984"/>
        </pc:sldMkLst>
        <pc:spChg chg="mod">
          <ac:chgData name="Annemarija Apine (LV)" userId="546f5c59-3b8d-47fd-b739-a8fadc631053" providerId="ADAL" clId="{B84B842D-2737-4C1A-AAE6-50B7BA4D7C85}" dt="2024-07-08T09:51:50.267" v="406" actId="20577"/>
          <ac:spMkLst>
            <pc:docMk/>
            <pc:sldMk cId="28118731" sldId="2147481984"/>
            <ac:spMk id="2" creationId="{EC47296D-9568-ED7D-0457-80174E2BF2F8}"/>
          </ac:spMkLst>
        </pc:spChg>
        <pc:spChg chg="mod">
          <ac:chgData name="Annemarija Apine (LV)" userId="546f5c59-3b8d-47fd-b739-a8fadc631053" providerId="ADAL" clId="{B84B842D-2737-4C1A-AAE6-50B7BA4D7C85}" dt="2024-07-08T09:37:06.663" v="261"/>
          <ac:spMkLst>
            <pc:docMk/>
            <pc:sldMk cId="28118731" sldId="2147481984"/>
            <ac:spMk id="11" creationId="{A8FD4E96-81F5-642B-682F-EA8E9C1B4BBF}"/>
          </ac:spMkLst>
        </pc:spChg>
        <pc:spChg chg="mod">
          <ac:chgData name="Annemarija Apine (LV)" userId="546f5c59-3b8d-47fd-b739-a8fadc631053" providerId="ADAL" clId="{B84B842D-2737-4C1A-AAE6-50B7BA4D7C85}" dt="2024-07-08T09:52:12.287" v="411" actId="20577"/>
          <ac:spMkLst>
            <pc:docMk/>
            <pc:sldMk cId="28118731" sldId="2147481984"/>
            <ac:spMk id="14" creationId="{69CFE8AA-8BE2-A62E-A1B9-8B4AE9C53218}"/>
          </ac:spMkLst>
        </pc:spChg>
        <pc:spChg chg="mod">
          <ac:chgData name="Annemarija Apine (LV)" userId="546f5c59-3b8d-47fd-b739-a8fadc631053" providerId="ADAL" clId="{B84B842D-2737-4C1A-AAE6-50B7BA4D7C85}" dt="2024-07-08T09:52:25.217" v="412" actId="20577"/>
          <ac:spMkLst>
            <pc:docMk/>
            <pc:sldMk cId="28118731" sldId="2147481984"/>
            <ac:spMk id="17" creationId="{F910971B-2255-41F9-8303-8F4AF0AD11A8}"/>
          </ac:spMkLst>
        </pc:spChg>
        <pc:spChg chg="mod">
          <ac:chgData name="Annemarija Apine (LV)" userId="546f5c59-3b8d-47fd-b739-a8fadc631053" providerId="ADAL" clId="{B84B842D-2737-4C1A-AAE6-50B7BA4D7C85}" dt="2024-07-08T09:37:06.663" v="261"/>
          <ac:spMkLst>
            <pc:docMk/>
            <pc:sldMk cId="28118731" sldId="2147481984"/>
            <ac:spMk id="24" creationId="{CB281FAC-7DED-11F7-E97B-2876684F63EF}"/>
          </ac:spMkLst>
        </pc:spChg>
        <pc:spChg chg="mod">
          <ac:chgData name="Annemarija Apine (LV)" userId="546f5c59-3b8d-47fd-b739-a8fadc631053" providerId="ADAL" clId="{B84B842D-2737-4C1A-AAE6-50B7BA4D7C85}" dt="2024-07-08T09:37:06.663" v="261"/>
          <ac:spMkLst>
            <pc:docMk/>
            <pc:sldMk cId="28118731" sldId="2147481984"/>
            <ac:spMk id="26" creationId="{685E0AB5-4088-919E-E2BC-C61595F31FBA}"/>
          </ac:spMkLst>
        </pc:spChg>
        <pc:spChg chg="mod">
          <ac:chgData name="Annemarija Apine (LV)" userId="546f5c59-3b8d-47fd-b739-a8fadc631053" providerId="ADAL" clId="{B84B842D-2737-4C1A-AAE6-50B7BA4D7C85}" dt="2024-07-08T09:37:06.663" v="261"/>
          <ac:spMkLst>
            <pc:docMk/>
            <pc:sldMk cId="28118731" sldId="2147481984"/>
            <ac:spMk id="28" creationId="{CF26C46B-4980-27C2-EC9A-D91B1FE9C92A}"/>
          </ac:spMkLst>
        </pc:spChg>
        <pc:spChg chg="mod">
          <ac:chgData name="Annemarija Apine (LV)" userId="546f5c59-3b8d-47fd-b739-a8fadc631053" providerId="ADAL" clId="{B84B842D-2737-4C1A-AAE6-50B7BA4D7C85}" dt="2024-07-08T09:51:56.443" v="410" actId="20577"/>
          <ac:spMkLst>
            <pc:docMk/>
            <pc:sldMk cId="28118731" sldId="2147481984"/>
            <ac:spMk id="50" creationId="{1E384B44-88CC-8F76-E9AF-DBDBDD24EECE}"/>
          </ac:spMkLst>
        </pc:spChg>
        <pc:grpChg chg="del">
          <ac:chgData name="Annemarija Apine (LV)" userId="546f5c59-3b8d-47fd-b739-a8fadc631053" providerId="ADAL" clId="{B84B842D-2737-4C1A-AAE6-50B7BA4D7C85}" dt="2024-07-08T09:37:06.517" v="260" actId="478"/>
          <ac:grpSpMkLst>
            <pc:docMk/>
            <pc:sldMk cId="28118731" sldId="2147481984"/>
            <ac:grpSpMk id="3" creationId="{AC1351A7-3ACA-83A0-864D-50249B278732}"/>
          </ac:grpSpMkLst>
        </pc:grpChg>
        <pc:grpChg chg="add mod">
          <ac:chgData name="Annemarija Apine (LV)" userId="546f5c59-3b8d-47fd-b739-a8fadc631053" providerId="ADAL" clId="{B84B842D-2737-4C1A-AAE6-50B7BA4D7C85}" dt="2024-07-08T09:37:06.663" v="261"/>
          <ac:grpSpMkLst>
            <pc:docMk/>
            <pc:sldMk cId="28118731" sldId="2147481984"/>
            <ac:grpSpMk id="10" creationId="{09F0C88A-A266-2028-D8E6-15B5BDD50889}"/>
          </ac:grpSpMkLst>
        </pc:grpChg>
        <pc:cxnChg chg="del">
          <ac:chgData name="Annemarija Apine (LV)" userId="546f5c59-3b8d-47fd-b739-a8fadc631053" providerId="ADAL" clId="{B84B842D-2737-4C1A-AAE6-50B7BA4D7C85}" dt="2024-07-08T09:53:39.571" v="420" actId="478"/>
          <ac:cxnSpMkLst>
            <pc:docMk/>
            <pc:sldMk cId="28118731" sldId="2147481984"/>
            <ac:cxnSpMk id="6" creationId="{AA7A7FA2-43EB-E10E-9DB9-8125FF1E58FC}"/>
          </ac:cxnSpMkLst>
        </pc:cxnChg>
        <pc:cxnChg chg="mod">
          <ac:chgData name="Annemarija Apine (LV)" userId="546f5c59-3b8d-47fd-b739-a8fadc631053" providerId="ADAL" clId="{B84B842D-2737-4C1A-AAE6-50B7BA4D7C85}" dt="2024-07-08T09:55:33.541" v="437" actId="553"/>
          <ac:cxnSpMkLst>
            <pc:docMk/>
            <pc:sldMk cId="28118731" sldId="2147481984"/>
            <ac:cxnSpMk id="12" creationId="{115247EA-EE3B-31EE-8D48-4898D35A3280}"/>
          </ac:cxnSpMkLst>
        </pc:cxnChg>
        <pc:cxnChg chg="add mod">
          <ac:chgData name="Annemarija Apine (LV)" userId="546f5c59-3b8d-47fd-b739-a8fadc631053" providerId="ADAL" clId="{B84B842D-2737-4C1A-AAE6-50B7BA4D7C85}" dt="2024-07-08T09:55:33.541" v="437" actId="553"/>
          <ac:cxnSpMkLst>
            <pc:docMk/>
            <pc:sldMk cId="28118731" sldId="2147481984"/>
            <ac:cxnSpMk id="29" creationId="{71F7B8C6-AA96-0577-DFF0-4BA28D2F471E}"/>
          </ac:cxnSpMkLst>
        </pc:cxnChg>
        <pc:cxnChg chg="add mod">
          <ac:chgData name="Annemarija Apine (LV)" userId="546f5c59-3b8d-47fd-b739-a8fadc631053" providerId="ADAL" clId="{B84B842D-2737-4C1A-AAE6-50B7BA4D7C85}" dt="2024-07-08T09:54:05.759" v="436" actId="555"/>
          <ac:cxnSpMkLst>
            <pc:docMk/>
            <pc:sldMk cId="28118731" sldId="2147481984"/>
            <ac:cxnSpMk id="30" creationId="{A5530494-615E-E51D-C722-0AB2F6B110FA}"/>
          </ac:cxnSpMkLst>
        </pc:cxnChg>
      </pc:sldChg>
      <pc:sldChg chg="modSp mod">
        <pc:chgData name="Annemarija Apine (LV)" userId="546f5c59-3b8d-47fd-b739-a8fadc631053" providerId="ADAL" clId="{B84B842D-2737-4C1A-AAE6-50B7BA4D7C85}" dt="2024-07-08T09:38:54.331" v="322" actId="20577"/>
        <pc:sldMkLst>
          <pc:docMk/>
          <pc:sldMk cId="1528034808" sldId="2147481985"/>
        </pc:sldMkLst>
        <pc:spChg chg="mod">
          <ac:chgData name="Annemarija Apine (LV)" userId="546f5c59-3b8d-47fd-b739-a8fadc631053" providerId="ADAL" clId="{B84B842D-2737-4C1A-AAE6-50B7BA4D7C85}" dt="2024-07-08T09:38:54.331" v="322" actId="20577"/>
          <ac:spMkLst>
            <pc:docMk/>
            <pc:sldMk cId="1528034808" sldId="2147481985"/>
            <ac:spMk id="2" creationId="{EC47296D-9568-ED7D-0457-80174E2BF2F8}"/>
          </ac:spMkLst>
        </pc:spChg>
        <pc:spChg chg="mod">
          <ac:chgData name="Annemarija Apine (LV)" userId="546f5c59-3b8d-47fd-b739-a8fadc631053" providerId="ADAL" clId="{B84B842D-2737-4C1A-AAE6-50B7BA4D7C85}" dt="2024-07-08T09:36:37.456" v="238" actId="20577"/>
          <ac:spMkLst>
            <pc:docMk/>
            <pc:sldMk cId="1528034808" sldId="2147481985"/>
            <ac:spMk id="15" creationId="{3DB07ECB-CF88-9CF5-3F3F-8BFA0F5EBA51}"/>
          </ac:spMkLst>
        </pc:spChg>
        <pc:spChg chg="mod">
          <ac:chgData name="Annemarija Apine (LV)" userId="546f5c59-3b8d-47fd-b739-a8fadc631053" providerId="ADAL" clId="{B84B842D-2737-4C1A-AAE6-50B7BA4D7C85}" dt="2024-07-08T09:38:22.314" v="314" actId="20577"/>
          <ac:spMkLst>
            <pc:docMk/>
            <pc:sldMk cId="1528034808" sldId="2147481985"/>
            <ac:spMk id="50" creationId="{1E384B44-88CC-8F76-E9AF-DBDBDD24EECE}"/>
          </ac:spMkLst>
        </pc:spChg>
      </pc:sldChg>
      <pc:sldChg chg="modSp mod">
        <pc:chgData name="Annemarija Apine (LV)" userId="546f5c59-3b8d-47fd-b739-a8fadc631053" providerId="ADAL" clId="{B84B842D-2737-4C1A-AAE6-50B7BA4D7C85}" dt="2024-07-08T09:37:20.674" v="273" actId="20577"/>
        <pc:sldMkLst>
          <pc:docMk/>
          <pc:sldMk cId="3064753468" sldId="2147481987"/>
        </pc:sldMkLst>
        <pc:spChg chg="mod">
          <ac:chgData name="Annemarija Apine (LV)" userId="546f5c59-3b8d-47fd-b739-a8fadc631053" providerId="ADAL" clId="{B84B842D-2737-4C1A-AAE6-50B7BA4D7C85}" dt="2024-07-08T09:37:20.674" v="273" actId="20577"/>
          <ac:spMkLst>
            <pc:docMk/>
            <pc:sldMk cId="3064753468" sldId="2147481987"/>
            <ac:spMk id="2" creationId="{00000000-0000-0000-0000-000000000000}"/>
          </ac:spMkLst>
        </pc:spChg>
      </pc:sldChg>
      <pc:sldChg chg="modSp mod">
        <pc:chgData name="Annemarija Apine (LV)" userId="546f5c59-3b8d-47fd-b739-a8fadc631053" providerId="ADAL" clId="{B84B842D-2737-4C1A-AAE6-50B7BA4D7C85}" dt="2024-07-08T10:07:59.249" v="601" actId="20577"/>
        <pc:sldMkLst>
          <pc:docMk/>
          <pc:sldMk cId="802236342" sldId="2147481991"/>
        </pc:sldMkLst>
        <pc:spChg chg="mod">
          <ac:chgData name="Annemarija Apine (LV)" userId="546f5c59-3b8d-47fd-b739-a8fadc631053" providerId="ADAL" clId="{B84B842D-2737-4C1A-AAE6-50B7BA4D7C85}" dt="2024-07-08T10:07:46.546" v="582" actId="20577"/>
          <ac:spMkLst>
            <pc:docMk/>
            <pc:sldMk cId="802236342" sldId="2147481991"/>
            <ac:spMk id="2" creationId="{EC47296D-9568-ED7D-0457-80174E2BF2F8}"/>
          </ac:spMkLst>
        </pc:spChg>
        <pc:spChg chg="mod">
          <ac:chgData name="Annemarija Apine (LV)" userId="546f5c59-3b8d-47fd-b739-a8fadc631053" providerId="ADAL" clId="{B84B842D-2737-4C1A-AAE6-50B7BA4D7C85}" dt="2024-07-08T10:07:59.249" v="601" actId="20577"/>
          <ac:spMkLst>
            <pc:docMk/>
            <pc:sldMk cId="802236342" sldId="2147481991"/>
            <ac:spMk id="13" creationId="{796BC01C-F070-C5BD-AF9C-CB23C1AB936F}"/>
          </ac:spMkLst>
        </pc:spChg>
        <pc:spChg chg="mod">
          <ac:chgData name="Annemarija Apine (LV)" userId="546f5c59-3b8d-47fd-b739-a8fadc631053" providerId="ADAL" clId="{B84B842D-2737-4C1A-AAE6-50B7BA4D7C85}" dt="2024-07-08T10:06:55.675" v="555" actId="20577"/>
          <ac:spMkLst>
            <pc:docMk/>
            <pc:sldMk cId="802236342" sldId="2147481991"/>
            <ac:spMk id="42" creationId="{986F6EBD-76CF-AA8A-DC11-0900DE8A8EB0}"/>
          </ac:spMkLst>
        </pc:spChg>
        <pc:spChg chg="mod">
          <ac:chgData name="Annemarija Apine (LV)" userId="546f5c59-3b8d-47fd-b739-a8fadc631053" providerId="ADAL" clId="{B84B842D-2737-4C1A-AAE6-50B7BA4D7C85}" dt="2024-07-08T10:06:35.285" v="543" actId="20577"/>
          <ac:spMkLst>
            <pc:docMk/>
            <pc:sldMk cId="802236342" sldId="2147481991"/>
            <ac:spMk id="52" creationId="{54140961-D367-FFB1-E0FC-3F385487D472}"/>
          </ac:spMkLst>
        </pc:spChg>
      </pc:sldChg>
      <pc:sldChg chg="modSp mod">
        <pc:chgData name="Annemarija Apine (LV)" userId="546f5c59-3b8d-47fd-b739-a8fadc631053" providerId="ADAL" clId="{B84B842D-2737-4C1A-AAE6-50B7BA4D7C85}" dt="2024-07-08T10:05:05.272" v="520" actId="20577"/>
        <pc:sldMkLst>
          <pc:docMk/>
          <pc:sldMk cId="1613844391" sldId="2147481992"/>
        </pc:sldMkLst>
        <pc:spChg chg="mod">
          <ac:chgData name="Annemarija Apine (LV)" userId="546f5c59-3b8d-47fd-b739-a8fadc631053" providerId="ADAL" clId="{B84B842D-2737-4C1A-AAE6-50B7BA4D7C85}" dt="2024-07-08T10:04:58.700" v="519" actId="20577"/>
          <ac:spMkLst>
            <pc:docMk/>
            <pc:sldMk cId="1613844391" sldId="2147481992"/>
            <ac:spMk id="10" creationId="{51187766-79AB-3948-D828-6DE1F7A2DC7F}"/>
          </ac:spMkLst>
        </pc:spChg>
        <pc:spChg chg="mod">
          <ac:chgData name="Annemarija Apine (LV)" userId="546f5c59-3b8d-47fd-b739-a8fadc631053" providerId="ADAL" clId="{B84B842D-2737-4C1A-AAE6-50B7BA4D7C85}" dt="2024-07-08T10:04:47.368" v="503" actId="20577"/>
          <ac:spMkLst>
            <pc:docMk/>
            <pc:sldMk cId="1613844391" sldId="2147481992"/>
            <ac:spMk id="31" creationId="{4F2FF167-7C7B-B9E6-3AFE-8A596E06FC6E}"/>
          </ac:spMkLst>
        </pc:spChg>
        <pc:spChg chg="mod">
          <ac:chgData name="Annemarija Apine (LV)" userId="546f5c59-3b8d-47fd-b739-a8fadc631053" providerId="ADAL" clId="{B84B842D-2737-4C1A-AAE6-50B7BA4D7C85}" dt="2024-07-08T10:05:05.272" v="520" actId="20577"/>
          <ac:spMkLst>
            <pc:docMk/>
            <pc:sldMk cId="1613844391" sldId="2147481992"/>
            <ac:spMk id="35" creationId="{811931EC-6857-1B96-90C3-EBA4143A997B}"/>
          </ac:spMkLst>
        </pc:spChg>
      </pc:sldChg>
      <pc:sldChg chg="addSp delSp modSp mod">
        <pc:chgData name="Annemarija Apine (LV)" userId="546f5c59-3b8d-47fd-b739-a8fadc631053" providerId="ADAL" clId="{B84B842D-2737-4C1A-AAE6-50B7BA4D7C85}" dt="2024-07-08T09:37:37.630" v="287"/>
        <pc:sldMkLst>
          <pc:docMk/>
          <pc:sldMk cId="3369852443" sldId="2147482007"/>
        </pc:sldMkLst>
        <pc:spChg chg="mod">
          <ac:chgData name="Annemarija Apine (LV)" userId="546f5c59-3b8d-47fd-b739-a8fadc631053" providerId="ADAL" clId="{B84B842D-2737-4C1A-AAE6-50B7BA4D7C85}" dt="2024-07-08T09:37:37.630" v="287"/>
          <ac:spMkLst>
            <pc:docMk/>
            <pc:sldMk cId="3369852443" sldId="2147482007"/>
            <ac:spMk id="5" creationId="{EA644FC6-5962-CA42-266F-8870EC4DCC9B}"/>
          </ac:spMkLst>
        </pc:spChg>
        <pc:spChg chg="mod">
          <ac:chgData name="Annemarija Apine (LV)" userId="546f5c59-3b8d-47fd-b739-a8fadc631053" providerId="ADAL" clId="{B84B842D-2737-4C1A-AAE6-50B7BA4D7C85}" dt="2024-07-08T09:37:37.630" v="287"/>
          <ac:spMkLst>
            <pc:docMk/>
            <pc:sldMk cId="3369852443" sldId="2147482007"/>
            <ac:spMk id="6" creationId="{4FAE8A9F-B6BE-AB27-B714-30CB557ABDCF}"/>
          </ac:spMkLst>
        </pc:spChg>
        <pc:spChg chg="mod">
          <ac:chgData name="Annemarija Apine (LV)" userId="546f5c59-3b8d-47fd-b739-a8fadc631053" providerId="ADAL" clId="{B84B842D-2737-4C1A-AAE6-50B7BA4D7C85}" dt="2024-07-08T09:37:37.630" v="287"/>
          <ac:spMkLst>
            <pc:docMk/>
            <pc:sldMk cId="3369852443" sldId="2147482007"/>
            <ac:spMk id="7" creationId="{AD6A4163-62AE-C898-71E6-E48AD668E653}"/>
          </ac:spMkLst>
        </pc:spChg>
        <pc:spChg chg="mod">
          <ac:chgData name="Annemarija Apine (LV)" userId="546f5c59-3b8d-47fd-b739-a8fadc631053" providerId="ADAL" clId="{B84B842D-2737-4C1A-AAE6-50B7BA4D7C85}" dt="2024-07-08T09:37:37.630" v="287"/>
          <ac:spMkLst>
            <pc:docMk/>
            <pc:sldMk cId="3369852443" sldId="2147482007"/>
            <ac:spMk id="8" creationId="{6195425A-5889-C383-5687-9034D565F0D7}"/>
          </ac:spMkLst>
        </pc:spChg>
        <pc:grpChg chg="add mod">
          <ac:chgData name="Annemarija Apine (LV)" userId="546f5c59-3b8d-47fd-b739-a8fadc631053" providerId="ADAL" clId="{B84B842D-2737-4C1A-AAE6-50B7BA4D7C85}" dt="2024-07-08T09:37:37.630" v="287"/>
          <ac:grpSpMkLst>
            <pc:docMk/>
            <pc:sldMk cId="3369852443" sldId="2147482007"/>
            <ac:grpSpMk id="3" creationId="{E7EE087B-A144-BEAB-5D3F-65809FD3933A}"/>
          </ac:grpSpMkLst>
        </pc:grpChg>
        <pc:grpChg chg="del">
          <ac:chgData name="Annemarija Apine (LV)" userId="546f5c59-3b8d-47fd-b739-a8fadc631053" providerId="ADAL" clId="{B84B842D-2737-4C1A-AAE6-50B7BA4D7C85}" dt="2024-07-08T09:37:37.388" v="286" actId="478"/>
          <ac:grpSpMkLst>
            <pc:docMk/>
            <pc:sldMk cId="3369852443" sldId="2147482007"/>
            <ac:grpSpMk id="23" creationId="{5F16E160-B5F9-DB7E-B655-1AF05426D38C}"/>
          </ac:grpSpMkLst>
        </pc:grpChg>
      </pc:sldChg>
      <pc:sldChg chg="addSp delSp modSp mod">
        <pc:chgData name="Annemarija Apine (LV)" userId="546f5c59-3b8d-47fd-b739-a8fadc631053" providerId="ADAL" clId="{B84B842D-2737-4C1A-AAE6-50B7BA4D7C85}" dt="2024-07-08T09:44:14.102" v="342" actId="20577"/>
        <pc:sldMkLst>
          <pc:docMk/>
          <pc:sldMk cId="1791248831" sldId="2147482012"/>
        </pc:sldMkLst>
        <pc:spChg chg="mod">
          <ac:chgData name="Annemarija Apine (LV)" userId="546f5c59-3b8d-47fd-b739-a8fadc631053" providerId="ADAL" clId="{B84B842D-2737-4C1A-AAE6-50B7BA4D7C85}" dt="2024-07-08T09:36:50.397" v="247"/>
          <ac:spMkLst>
            <pc:docMk/>
            <pc:sldMk cId="1791248831" sldId="2147482012"/>
            <ac:spMk id="4" creationId="{E577B63C-B4F9-33F3-F4C6-5F6043693D0A}"/>
          </ac:spMkLst>
        </pc:spChg>
        <pc:spChg chg="mod">
          <ac:chgData name="Annemarija Apine (LV)" userId="546f5c59-3b8d-47fd-b739-a8fadc631053" providerId="ADAL" clId="{B84B842D-2737-4C1A-AAE6-50B7BA4D7C85}" dt="2024-07-08T09:36:50.397" v="247"/>
          <ac:spMkLst>
            <pc:docMk/>
            <pc:sldMk cId="1791248831" sldId="2147482012"/>
            <ac:spMk id="5" creationId="{DCFCF3A1-432D-D43F-2498-D29DF8ADCD58}"/>
          </ac:spMkLst>
        </pc:spChg>
        <pc:spChg chg="mod">
          <ac:chgData name="Annemarija Apine (LV)" userId="546f5c59-3b8d-47fd-b739-a8fadc631053" providerId="ADAL" clId="{B84B842D-2737-4C1A-AAE6-50B7BA4D7C85}" dt="2024-07-08T09:36:50.397" v="247"/>
          <ac:spMkLst>
            <pc:docMk/>
            <pc:sldMk cId="1791248831" sldId="2147482012"/>
            <ac:spMk id="7" creationId="{E75A1746-9CBC-5A44-D7C7-ABFE1DB42295}"/>
          </ac:spMkLst>
        </pc:spChg>
        <pc:spChg chg="mod">
          <ac:chgData name="Annemarija Apine (LV)" userId="546f5c59-3b8d-47fd-b739-a8fadc631053" providerId="ADAL" clId="{B84B842D-2737-4C1A-AAE6-50B7BA4D7C85}" dt="2024-07-08T09:36:50.397" v="247"/>
          <ac:spMkLst>
            <pc:docMk/>
            <pc:sldMk cId="1791248831" sldId="2147482012"/>
            <ac:spMk id="13" creationId="{E2468D95-8149-8C34-C470-79E1DF166C99}"/>
          </ac:spMkLst>
        </pc:spChg>
        <pc:spChg chg="mod">
          <ac:chgData name="Annemarija Apine (LV)" userId="546f5c59-3b8d-47fd-b739-a8fadc631053" providerId="ADAL" clId="{B84B842D-2737-4C1A-AAE6-50B7BA4D7C85}" dt="2024-07-08T09:44:14.102" v="342" actId="20577"/>
          <ac:spMkLst>
            <pc:docMk/>
            <pc:sldMk cId="1791248831" sldId="2147482012"/>
            <ac:spMk id="75" creationId="{AB24C0B9-0E0F-E3B2-1237-5CBEE719A1F1}"/>
          </ac:spMkLst>
        </pc:spChg>
        <pc:grpChg chg="add mod">
          <ac:chgData name="Annemarija Apine (LV)" userId="546f5c59-3b8d-47fd-b739-a8fadc631053" providerId="ADAL" clId="{B84B842D-2737-4C1A-AAE6-50B7BA4D7C85}" dt="2024-07-08T09:36:50.397" v="247"/>
          <ac:grpSpMkLst>
            <pc:docMk/>
            <pc:sldMk cId="1791248831" sldId="2147482012"/>
            <ac:grpSpMk id="3" creationId="{14A0E909-E536-762D-3B58-6EF6CEE010B3}"/>
          </ac:grpSpMkLst>
        </pc:grpChg>
        <pc:grpChg chg="del">
          <ac:chgData name="Annemarija Apine (LV)" userId="546f5c59-3b8d-47fd-b739-a8fadc631053" providerId="ADAL" clId="{B84B842D-2737-4C1A-AAE6-50B7BA4D7C85}" dt="2024-07-08T09:36:50.187" v="246" actId="478"/>
          <ac:grpSpMkLst>
            <pc:docMk/>
            <pc:sldMk cId="1791248831" sldId="2147482012"/>
            <ac:grpSpMk id="8" creationId="{D8AA64DF-9619-9E30-3EF7-BF0C09287EC0}"/>
          </ac:grpSpMkLst>
        </pc:grpChg>
      </pc:sldChg>
      <pc:sldChg chg="addSp delSp modSp mod">
        <pc:chgData name="Annemarija Apine (LV)" userId="546f5c59-3b8d-47fd-b739-a8fadc631053" providerId="ADAL" clId="{B84B842D-2737-4C1A-AAE6-50B7BA4D7C85}" dt="2024-07-08T09:36:55.587" v="252"/>
        <pc:sldMkLst>
          <pc:docMk/>
          <pc:sldMk cId="544519598" sldId="2147482017"/>
        </pc:sldMkLst>
        <pc:spChg chg="mod">
          <ac:chgData name="Annemarija Apine (LV)" userId="546f5c59-3b8d-47fd-b739-a8fadc631053" providerId="ADAL" clId="{B84B842D-2737-4C1A-AAE6-50B7BA4D7C85}" dt="2024-07-08T09:36:53.419" v="250" actId="1076"/>
          <ac:spMkLst>
            <pc:docMk/>
            <pc:sldMk cId="544519598" sldId="2147482017"/>
            <ac:spMk id="2" creationId="{EC47296D-9568-ED7D-0457-80174E2BF2F8}"/>
          </ac:spMkLst>
        </pc:spChg>
        <pc:spChg chg="mod">
          <ac:chgData name="Annemarija Apine (LV)" userId="546f5c59-3b8d-47fd-b739-a8fadc631053" providerId="ADAL" clId="{B84B842D-2737-4C1A-AAE6-50B7BA4D7C85}" dt="2024-07-08T09:36:55.587" v="252"/>
          <ac:spMkLst>
            <pc:docMk/>
            <pc:sldMk cId="544519598" sldId="2147482017"/>
            <ac:spMk id="8" creationId="{E67E1A94-1DBC-20D5-CF20-BD0D0D0A5D0A}"/>
          </ac:spMkLst>
        </pc:spChg>
        <pc:spChg chg="mod">
          <ac:chgData name="Annemarija Apine (LV)" userId="546f5c59-3b8d-47fd-b739-a8fadc631053" providerId="ADAL" clId="{B84B842D-2737-4C1A-AAE6-50B7BA4D7C85}" dt="2024-07-08T09:36:55.587" v="252"/>
          <ac:spMkLst>
            <pc:docMk/>
            <pc:sldMk cId="544519598" sldId="2147482017"/>
            <ac:spMk id="33" creationId="{2BB58945-6A0D-6EE2-98F4-C6FC940E187E}"/>
          </ac:spMkLst>
        </pc:spChg>
        <pc:spChg chg="mod">
          <ac:chgData name="Annemarija Apine (LV)" userId="546f5c59-3b8d-47fd-b739-a8fadc631053" providerId="ADAL" clId="{B84B842D-2737-4C1A-AAE6-50B7BA4D7C85}" dt="2024-07-08T09:36:55.587" v="252"/>
          <ac:spMkLst>
            <pc:docMk/>
            <pc:sldMk cId="544519598" sldId="2147482017"/>
            <ac:spMk id="37" creationId="{A2D5DE67-A7AD-C3A7-2C73-147EE7E59A1D}"/>
          </ac:spMkLst>
        </pc:spChg>
        <pc:spChg chg="mod">
          <ac:chgData name="Annemarija Apine (LV)" userId="546f5c59-3b8d-47fd-b739-a8fadc631053" providerId="ADAL" clId="{B84B842D-2737-4C1A-AAE6-50B7BA4D7C85}" dt="2024-07-08T09:36:55.587" v="252"/>
          <ac:spMkLst>
            <pc:docMk/>
            <pc:sldMk cId="544519598" sldId="2147482017"/>
            <ac:spMk id="38" creationId="{B83D6990-6783-64C5-F3B2-D994903A71EC}"/>
          </ac:spMkLst>
        </pc:spChg>
        <pc:grpChg chg="del">
          <ac:chgData name="Annemarija Apine (LV)" userId="546f5c59-3b8d-47fd-b739-a8fadc631053" providerId="ADAL" clId="{B84B842D-2737-4C1A-AAE6-50B7BA4D7C85}" dt="2024-07-08T09:36:55.376" v="251" actId="478"/>
          <ac:grpSpMkLst>
            <pc:docMk/>
            <pc:sldMk cId="544519598" sldId="2147482017"/>
            <ac:grpSpMk id="3" creationId="{AC75C078-9268-44F2-82EF-5ACEECC8FA74}"/>
          </ac:grpSpMkLst>
        </pc:grpChg>
        <pc:grpChg chg="add mod">
          <ac:chgData name="Annemarija Apine (LV)" userId="546f5c59-3b8d-47fd-b739-a8fadc631053" providerId="ADAL" clId="{B84B842D-2737-4C1A-AAE6-50B7BA4D7C85}" dt="2024-07-08T09:36:55.587" v="252"/>
          <ac:grpSpMkLst>
            <pc:docMk/>
            <pc:sldMk cId="544519598" sldId="2147482017"/>
            <ac:grpSpMk id="5" creationId="{4C49FEC2-00CF-9C6C-DF35-8BAF1A0F5A3F}"/>
          </ac:grpSpMkLst>
        </pc:grpChg>
      </pc:sldChg>
      <pc:sldChg chg="addSp delSp modSp mod">
        <pc:chgData name="Annemarija Apine (LV)" userId="546f5c59-3b8d-47fd-b739-a8fadc631053" providerId="ADAL" clId="{B84B842D-2737-4C1A-AAE6-50B7BA4D7C85}" dt="2024-07-08T09:45:56.108" v="382" actId="20577"/>
        <pc:sldMkLst>
          <pc:docMk/>
          <pc:sldMk cId="1401595425" sldId="2147482018"/>
        </pc:sldMkLst>
        <pc:spChg chg="mod">
          <ac:chgData name="Annemarija Apine (LV)" userId="546f5c59-3b8d-47fd-b739-a8fadc631053" providerId="ADAL" clId="{B84B842D-2737-4C1A-AAE6-50B7BA4D7C85}" dt="2024-07-08T09:36:59.331" v="255"/>
          <ac:spMkLst>
            <pc:docMk/>
            <pc:sldMk cId="1401595425" sldId="2147482018"/>
            <ac:spMk id="4" creationId="{BF02D35A-10F3-7972-14FF-ECAC210BE002}"/>
          </ac:spMkLst>
        </pc:spChg>
        <pc:spChg chg="mod">
          <ac:chgData name="Annemarija Apine (LV)" userId="546f5c59-3b8d-47fd-b739-a8fadc631053" providerId="ADAL" clId="{B84B842D-2737-4C1A-AAE6-50B7BA4D7C85}" dt="2024-07-08T09:36:59.331" v="255"/>
          <ac:spMkLst>
            <pc:docMk/>
            <pc:sldMk cId="1401595425" sldId="2147482018"/>
            <ac:spMk id="8" creationId="{BD70680B-54FE-B6BB-5232-B4626D5C7378}"/>
          </ac:spMkLst>
        </pc:spChg>
        <pc:spChg chg="mod">
          <ac:chgData name="Annemarija Apine (LV)" userId="546f5c59-3b8d-47fd-b739-a8fadc631053" providerId="ADAL" clId="{B84B842D-2737-4C1A-AAE6-50B7BA4D7C85}" dt="2024-07-08T09:36:59.331" v="255"/>
          <ac:spMkLst>
            <pc:docMk/>
            <pc:sldMk cId="1401595425" sldId="2147482018"/>
            <ac:spMk id="10" creationId="{C6318C69-53B6-51DD-5D52-B37308DFE61E}"/>
          </ac:spMkLst>
        </pc:spChg>
        <pc:spChg chg="mod">
          <ac:chgData name="Annemarija Apine (LV)" userId="546f5c59-3b8d-47fd-b739-a8fadc631053" providerId="ADAL" clId="{B84B842D-2737-4C1A-AAE6-50B7BA4D7C85}" dt="2024-07-08T09:36:59.331" v="255"/>
          <ac:spMkLst>
            <pc:docMk/>
            <pc:sldMk cId="1401595425" sldId="2147482018"/>
            <ac:spMk id="11" creationId="{19DCC04E-41B7-CB70-43E9-4C93CB28C804}"/>
          </ac:spMkLst>
        </pc:spChg>
        <pc:spChg chg="mod">
          <ac:chgData name="Annemarija Apine (LV)" userId="546f5c59-3b8d-47fd-b739-a8fadc631053" providerId="ADAL" clId="{B84B842D-2737-4C1A-AAE6-50B7BA4D7C85}" dt="2024-07-08T09:45:44.915" v="375" actId="20577"/>
          <ac:spMkLst>
            <pc:docMk/>
            <pc:sldMk cId="1401595425" sldId="2147482018"/>
            <ac:spMk id="33" creationId="{A9EA678B-1C92-D1EC-5EF2-97D0A4907E68}"/>
          </ac:spMkLst>
        </pc:spChg>
        <pc:spChg chg="mod">
          <ac:chgData name="Annemarija Apine (LV)" userId="546f5c59-3b8d-47fd-b739-a8fadc631053" providerId="ADAL" clId="{B84B842D-2737-4C1A-AAE6-50B7BA4D7C85}" dt="2024-07-08T09:45:28.152" v="364" actId="20577"/>
          <ac:spMkLst>
            <pc:docMk/>
            <pc:sldMk cId="1401595425" sldId="2147482018"/>
            <ac:spMk id="68" creationId="{DC58C25F-8110-0C29-4A50-5DADA78B621C}"/>
          </ac:spMkLst>
        </pc:spChg>
        <pc:spChg chg="mod">
          <ac:chgData name="Annemarija Apine (LV)" userId="546f5c59-3b8d-47fd-b739-a8fadc631053" providerId="ADAL" clId="{B84B842D-2737-4C1A-AAE6-50B7BA4D7C85}" dt="2024-07-08T09:45:34.682" v="374" actId="20577"/>
          <ac:spMkLst>
            <pc:docMk/>
            <pc:sldMk cId="1401595425" sldId="2147482018"/>
            <ac:spMk id="75" creationId="{AB24C0B9-0E0F-E3B2-1237-5CBEE719A1F1}"/>
          </ac:spMkLst>
        </pc:spChg>
        <pc:spChg chg="mod">
          <ac:chgData name="Annemarija Apine (LV)" userId="546f5c59-3b8d-47fd-b739-a8fadc631053" providerId="ADAL" clId="{B84B842D-2737-4C1A-AAE6-50B7BA4D7C85}" dt="2024-07-08T09:45:56.108" v="382" actId="20577"/>
          <ac:spMkLst>
            <pc:docMk/>
            <pc:sldMk cId="1401595425" sldId="2147482018"/>
            <ac:spMk id="77" creationId="{7507519A-1DE4-B47D-BFBC-5EC74A788B23}"/>
          </ac:spMkLst>
        </pc:spChg>
        <pc:grpChg chg="add mod">
          <ac:chgData name="Annemarija Apine (LV)" userId="546f5c59-3b8d-47fd-b739-a8fadc631053" providerId="ADAL" clId="{B84B842D-2737-4C1A-AAE6-50B7BA4D7C85}" dt="2024-07-08T09:36:59.331" v="255"/>
          <ac:grpSpMkLst>
            <pc:docMk/>
            <pc:sldMk cId="1401595425" sldId="2147482018"/>
            <ac:grpSpMk id="3" creationId="{7BC7DBC7-037C-708E-4D4E-065EB3F0B6BE}"/>
          </ac:grpSpMkLst>
        </pc:grpChg>
        <pc:grpChg chg="del">
          <ac:chgData name="Annemarija Apine (LV)" userId="546f5c59-3b8d-47fd-b739-a8fadc631053" providerId="ADAL" clId="{B84B842D-2737-4C1A-AAE6-50B7BA4D7C85}" dt="2024-07-08T09:36:59.170" v="254" actId="478"/>
          <ac:grpSpMkLst>
            <pc:docMk/>
            <pc:sldMk cId="1401595425" sldId="2147482018"/>
            <ac:grpSpMk id="14" creationId="{7110C0CD-69A0-6CDA-BF51-EDD68F80364F}"/>
          </ac:grpSpMkLst>
        </pc:grpChg>
      </pc:sldChg>
      <pc:sldChg chg="addSp delSp modSp mod">
        <pc:chgData name="Annemarija Apine (LV)" userId="546f5c59-3b8d-47fd-b739-a8fadc631053" providerId="ADAL" clId="{B84B842D-2737-4C1A-AAE6-50B7BA4D7C85}" dt="2024-07-08T09:51:11.439" v="401" actId="20577"/>
        <pc:sldMkLst>
          <pc:docMk/>
          <pc:sldMk cId="2403530007" sldId="2147482019"/>
        </pc:sldMkLst>
        <pc:spChg chg="mod">
          <ac:chgData name="Annemarija Apine (LV)" userId="546f5c59-3b8d-47fd-b739-a8fadc631053" providerId="ADAL" clId="{B84B842D-2737-4C1A-AAE6-50B7BA4D7C85}" dt="2024-07-08T09:37:02.807" v="258"/>
          <ac:spMkLst>
            <pc:docMk/>
            <pc:sldMk cId="2403530007" sldId="2147482019"/>
            <ac:spMk id="6" creationId="{096E91D4-AAEB-BD5D-6433-E6C4E294326F}"/>
          </ac:spMkLst>
        </pc:spChg>
        <pc:spChg chg="mod">
          <ac:chgData name="Annemarija Apine (LV)" userId="546f5c59-3b8d-47fd-b739-a8fadc631053" providerId="ADAL" clId="{B84B842D-2737-4C1A-AAE6-50B7BA4D7C85}" dt="2024-07-08T09:37:02.807" v="258"/>
          <ac:spMkLst>
            <pc:docMk/>
            <pc:sldMk cId="2403530007" sldId="2147482019"/>
            <ac:spMk id="8" creationId="{A025DECA-5DC1-B706-0613-B1D7B39F8441}"/>
          </ac:spMkLst>
        </pc:spChg>
        <pc:spChg chg="mod">
          <ac:chgData name="Annemarija Apine (LV)" userId="546f5c59-3b8d-47fd-b739-a8fadc631053" providerId="ADAL" clId="{B84B842D-2737-4C1A-AAE6-50B7BA4D7C85}" dt="2024-07-08T09:37:02.807" v="258"/>
          <ac:spMkLst>
            <pc:docMk/>
            <pc:sldMk cId="2403530007" sldId="2147482019"/>
            <ac:spMk id="10" creationId="{D9A36C8F-E216-95D9-07E7-D7D83F8256C6}"/>
          </ac:spMkLst>
        </pc:spChg>
        <pc:spChg chg="mod">
          <ac:chgData name="Annemarija Apine (LV)" userId="546f5c59-3b8d-47fd-b739-a8fadc631053" providerId="ADAL" clId="{B84B842D-2737-4C1A-AAE6-50B7BA4D7C85}" dt="2024-07-08T09:46:45.584" v="400" actId="20577"/>
          <ac:spMkLst>
            <pc:docMk/>
            <pc:sldMk cId="2403530007" sldId="2147482019"/>
            <ac:spMk id="18" creationId="{257A3C35-39C9-A4E6-1837-31F170B2C97A}"/>
          </ac:spMkLst>
        </pc:spChg>
        <pc:spChg chg="mod">
          <ac:chgData name="Annemarija Apine (LV)" userId="546f5c59-3b8d-47fd-b739-a8fadc631053" providerId="ADAL" clId="{B84B842D-2737-4C1A-AAE6-50B7BA4D7C85}" dt="2024-07-08T09:51:11.439" v="401" actId="20577"/>
          <ac:spMkLst>
            <pc:docMk/>
            <pc:sldMk cId="2403530007" sldId="2147482019"/>
            <ac:spMk id="27" creationId="{776849C3-7FBF-04FF-D16B-8FA65D926E2D}"/>
          </ac:spMkLst>
        </pc:spChg>
        <pc:spChg chg="mod">
          <ac:chgData name="Annemarija Apine (LV)" userId="546f5c59-3b8d-47fd-b739-a8fadc631053" providerId="ADAL" clId="{B84B842D-2737-4C1A-AAE6-50B7BA4D7C85}" dt="2024-07-08T09:37:02.807" v="258"/>
          <ac:spMkLst>
            <pc:docMk/>
            <pc:sldMk cId="2403530007" sldId="2147482019"/>
            <ac:spMk id="28" creationId="{F3117E43-6D8D-668C-9673-B6470619C668}"/>
          </ac:spMkLst>
        </pc:spChg>
        <pc:grpChg chg="add mod">
          <ac:chgData name="Annemarija Apine (LV)" userId="546f5c59-3b8d-47fd-b739-a8fadc631053" providerId="ADAL" clId="{B84B842D-2737-4C1A-AAE6-50B7BA4D7C85}" dt="2024-07-08T09:37:02.807" v="258"/>
          <ac:grpSpMkLst>
            <pc:docMk/>
            <pc:sldMk cId="2403530007" sldId="2147482019"/>
            <ac:grpSpMk id="3" creationId="{446F6A7E-AA1D-9658-5823-5CD012725542}"/>
          </ac:grpSpMkLst>
        </pc:grpChg>
        <pc:grpChg chg="del">
          <ac:chgData name="Annemarija Apine (LV)" userId="546f5c59-3b8d-47fd-b739-a8fadc631053" providerId="ADAL" clId="{B84B842D-2737-4C1A-AAE6-50B7BA4D7C85}" dt="2024-07-08T09:37:02.602" v="257" actId="478"/>
          <ac:grpSpMkLst>
            <pc:docMk/>
            <pc:sldMk cId="2403530007" sldId="2147482019"/>
            <ac:grpSpMk id="7" creationId="{B88018E5-10E9-6F3C-CDA4-6F3598B8C6B1}"/>
          </ac:grpSpMkLst>
        </pc:grpChg>
      </pc:sldChg>
      <pc:sldChg chg="addSp delSp modSp mod">
        <pc:chgData name="Annemarija Apine (LV)" userId="546f5c59-3b8d-47fd-b739-a8fadc631053" providerId="ADAL" clId="{B84B842D-2737-4C1A-AAE6-50B7BA4D7C85}" dt="2024-07-08T09:37:40.502" v="290"/>
        <pc:sldMkLst>
          <pc:docMk/>
          <pc:sldMk cId="2130056102" sldId="2147482020"/>
        </pc:sldMkLst>
        <pc:spChg chg="mod">
          <ac:chgData name="Annemarija Apine (LV)" userId="546f5c59-3b8d-47fd-b739-a8fadc631053" providerId="ADAL" clId="{B84B842D-2737-4C1A-AAE6-50B7BA4D7C85}" dt="2024-07-08T09:37:40.502" v="290"/>
          <ac:spMkLst>
            <pc:docMk/>
            <pc:sldMk cId="2130056102" sldId="2147482020"/>
            <ac:spMk id="35" creationId="{A9491CBB-3A5A-E509-F594-37C9C5787E5A}"/>
          </ac:spMkLst>
        </pc:spChg>
        <pc:spChg chg="mod">
          <ac:chgData name="Annemarija Apine (LV)" userId="546f5c59-3b8d-47fd-b739-a8fadc631053" providerId="ADAL" clId="{B84B842D-2737-4C1A-AAE6-50B7BA4D7C85}" dt="2024-07-08T09:37:40.502" v="290"/>
          <ac:spMkLst>
            <pc:docMk/>
            <pc:sldMk cId="2130056102" sldId="2147482020"/>
            <ac:spMk id="36" creationId="{8C610A09-C32D-56CF-E86D-3D23F2CCA24B}"/>
          </ac:spMkLst>
        </pc:spChg>
        <pc:spChg chg="mod">
          <ac:chgData name="Annemarija Apine (LV)" userId="546f5c59-3b8d-47fd-b739-a8fadc631053" providerId="ADAL" clId="{B84B842D-2737-4C1A-AAE6-50B7BA4D7C85}" dt="2024-07-08T09:37:40.502" v="290"/>
          <ac:spMkLst>
            <pc:docMk/>
            <pc:sldMk cId="2130056102" sldId="2147482020"/>
            <ac:spMk id="37" creationId="{83DF2A76-403C-1848-DF8E-59182840BBCC}"/>
          </ac:spMkLst>
        </pc:spChg>
        <pc:spChg chg="mod">
          <ac:chgData name="Annemarija Apine (LV)" userId="546f5c59-3b8d-47fd-b739-a8fadc631053" providerId="ADAL" clId="{B84B842D-2737-4C1A-AAE6-50B7BA4D7C85}" dt="2024-07-08T09:37:40.502" v="290"/>
          <ac:spMkLst>
            <pc:docMk/>
            <pc:sldMk cId="2130056102" sldId="2147482020"/>
            <ac:spMk id="39" creationId="{78D32F6D-8C07-1D23-2A63-D7025838861F}"/>
          </ac:spMkLst>
        </pc:spChg>
        <pc:grpChg chg="del">
          <ac:chgData name="Annemarija Apine (LV)" userId="546f5c59-3b8d-47fd-b739-a8fadc631053" providerId="ADAL" clId="{B84B842D-2737-4C1A-AAE6-50B7BA4D7C85}" dt="2024-07-08T09:37:40.282" v="289" actId="478"/>
          <ac:grpSpMkLst>
            <pc:docMk/>
            <pc:sldMk cId="2130056102" sldId="2147482020"/>
            <ac:grpSpMk id="7" creationId="{FF93E6CC-3127-EE4B-EF45-0C9CDE7DA6FE}"/>
          </ac:grpSpMkLst>
        </pc:grpChg>
        <pc:grpChg chg="add mod">
          <ac:chgData name="Annemarija Apine (LV)" userId="546f5c59-3b8d-47fd-b739-a8fadc631053" providerId="ADAL" clId="{B84B842D-2737-4C1A-AAE6-50B7BA4D7C85}" dt="2024-07-08T09:37:40.502" v="290"/>
          <ac:grpSpMkLst>
            <pc:docMk/>
            <pc:sldMk cId="2130056102" sldId="2147482020"/>
            <ac:grpSpMk id="23" creationId="{0FC914B7-BC5A-60FD-5E21-E6319900D43B}"/>
          </ac:grpSpMkLst>
        </pc:grpChg>
      </pc:sldChg>
      <pc:sldChg chg="addSp delSp modSp mod">
        <pc:chgData name="Annemarija Apine (LV)" userId="546f5c59-3b8d-47fd-b739-a8fadc631053" providerId="ADAL" clId="{B84B842D-2737-4C1A-AAE6-50B7BA4D7C85}" dt="2024-07-08T10:02:47.737" v="496" actId="20577"/>
        <pc:sldMkLst>
          <pc:docMk/>
          <pc:sldMk cId="3870182568" sldId="2147482023"/>
        </pc:sldMkLst>
        <pc:spChg chg="mod">
          <ac:chgData name="Annemarija Apine (LV)" userId="546f5c59-3b8d-47fd-b739-a8fadc631053" providerId="ADAL" clId="{B84B842D-2737-4C1A-AAE6-50B7BA4D7C85}" dt="2024-07-08T09:37:43.191" v="293"/>
          <ac:spMkLst>
            <pc:docMk/>
            <pc:sldMk cId="3870182568" sldId="2147482023"/>
            <ac:spMk id="12" creationId="{BA58F25C-EF33-F54D-C7F2-147D5743B720}"/>
          </ac:spMkLst>
        </pc:spChg>
        <pc:spChg chg="mod">
          <ac:chgData name="Annemarija Apine (LV)" userId="546f5c59-3b8d-47fd-b739-a8fadc631053" providerId="ADAL" clId="{B84B842D-2737-4C1A-AAE6-50B7BA4D7C85}" dt="2024-07-08T09:37:43.191" v="293"/>
          <ac:spMkLst>
            <pc:docMk/>
            <pc:sldMk cId="3870182568" sldId="2147482023"/>
            <ac:spMk id="13" creationId="{58525180-F59E-B1DD-6A7E-2887AEC7E6BB}"/>
          </ac:spMkLst>
        </pc:spChg>
        <pc:spChg chg="mod">
          <ac:chgData name="Annemarija Apine (LV)" userId="546f5c59-3b8d-47fd-b739-a8fadc631053" providerId="ADAL" clId="{B84B842D-2737-4C1A-AAE6-50B7BA4D7C85}" dt="2024-07-08T09:37:43.191" v="293"/>
          <ac:spMkLst>
            <pc:docMk/>
            <pc:sldMk cId="3870182568" sldId="2147482023"/>
            <ac:spMk id="14" creationId="{90596621-EC5F-5124-2447-D643EB8A999E}"/>
          </ac:spMkLst>
        </pc:spChg>
        <pc:spChg chg="mod">
          <ac:chgData name="Annemarija Apine (LV)" userId="546f5c59-3b8d-47fd-b739-a8fadc631053" providerId="ADAL" clId="{B84B842D-2737-4C1A-AAE6-50B7BA4D7C85}" dt="2024-07-08T09:37:43.191" v="293"/>
          <ac:spMkLst>
            <pc:docMk/>
            <pc:sldMk cId="3870182568" sldId="2147482023"/>
            <ac:spMk id="16" creationId="{4A8291BC-75CD-60F5-A593-A845DCC8F541}"/>
          </ac:spMkLst>
        </pc:spChg>
        <pc:spChg chg="mod">
          <ac:chgData name="Annemarija Apine (LV)" userId="546f5c59-3b8d-47fd-b739-a8fadc631053" providerId="ADAL" clId="{B84B842D-2737-4C1A-AAE6-50B7BA4D7C85}" dt="2024-07-08T10:02:34.781" v="489" actId="20577"/>
          <ac:spMkLst>
            <pc:docMk/>
            <pc:sldMk cId="3870182568" sldId="2147482023"/>
            <ac:spMk id="65" creationId="{6C9963BA-CB30-1A9A-495C-AC7D92B42F6A}"/>
          </ac:spMkLst>
        </pc:spChg>
        <pc:spChg chg="mod">
          <ac:chgData name="Annemarija Apine (LV)" userId="546f5c59-3b8d-47fd-b739-a8fadc631053" providerId="ADAL" clId="{B84B842D-2737-4C1A-AAE6-50B7BA4D7C85}" dt="2024-07-08T10:02:47.737" v="496" actId="20577"/>
          <ac:spMkLst>
            <pc:docMk/>
            <pc:sldMk cId="3870182568" sldId="2147482023"/>
            <ac:spMk id="66" creationId="{F013B6EF-6664-55FA-8A95-9B25B931D676}"/>
          </ac:spMkLst>
        </pc:spChg>
        <pc:grpChg chg="del">
          <ac:chgData name="Annemarija Apine (LV)" userId="546f5c59-3b8d-47fd-b739-a8fadc631053" providerId="ADAL" clId="{B84B842D-2737-4C1A-AAE6-50B7BA4D7C85}" dt="2024-07-08T09:37:42.887" v="292" actId="478"/>
          <ac:grpSpMkLst>
            <pc:docMk/>
            <pc:sldMk cId="3870182568" sldId="2147482023"/>
            <ac:grpSpMk id="3" creationId="{FF589404-C524-8B53-D19D-71F7CE145F34}"/>
          </ac:grpSpMkLst>
        </pc:grpChg>
        <pc:grpChg chg="add mod">
          <ac:chgData name="Annemarija Apine (LV)" userId="546f5c59-3b8d-47fd-b739-a8fadc631053" providerId="ADAL" clId="{B84B842D-2737-4C1A-AAE6-50B7BA4D7C85}" dt="2024-07-08T09:37:43.191" v="293"/>
          <ac:grpSpMkLst>
            <pc:docMk/>
            <pc:sldMk cId="3870182568" sldId="2147482023"/>
            <ac:grpSpMk id="10" creationId="{B8B41375-691A-D606-20FB-0913C0004FD7}"/>
          </ac:grpSpMkLst>
        </pc:grpChg>
      </pc:sldChg>
      <pc:sldChg chg="addSp delSp modSp mod">
        <pc:chgData name="Annemarija Apine (LV)" userId="546f5c59-3b8d-47fd-b739-a8fadc631053" providerId="ADAL" clId="{B84B842D-2737-4C1A-AAE6-50B7BA4D7C85}" dt="2024-07-08T09:37:45.614" v="296"/>
        <pc:sldMkLst>
          <pc:docMk/>
          <pc:sldMk cId="3739598553" sldId="2147482024"/>
        </pc:sldMkLst>
        <pc:spChg chg="mod">
          <ac:chgData name="Annemarija Apine (LV)" userId="546f5c59-3b8d-47fd-b739-a8fadc631053" providerId="ADAL" clId="{B84B842D-2737-4C1A-AAE6-50B7BA4D7C85}" dt="2024-07-08T09:37:45.614" v="296"/>
          <ac:spMkLst>
            <pc:docMk/>
            <pc:sldMk cId="3739598553" sldId="2147482024"/>
            <ac:spMk id="18" creationId="{C34C54D4-3F16-CF7B-30A0-814B995CCA9E}"/>
          </ac:spMkLst>
        </pc:spChg>
        <pc:spChg chg="mod">
          <ac:chgData name="Annemarija Apine (LV)" userId="546f5c59-3b8d-47fd-b739-a8fadc631053" providerId="ADAL" clId="{B84B842D-2737-4C1A-AAE6-50B7BA4D7C85}" dt="2024-07-08T09:37:45.614" v="296"/>
          <ac:spMkLst>
            <pc:docMk/>
            <pc:sldMk cId="3739598553" sldId="2147482024"/>
            <ac:spMk id="19" creationId="{DC7C70E2-3F47-2663-5AC2-ED4B12C90508}"/>
          </ac:spMkLst>
        </pc:spChg>
        <pc:spChg chg="mod">
          <ac:chgData name="Annemarija Apine (LV)" userId="546f5c59-3b8d-47fd-b739-a8fadc631053" providerId="ADAL" clId="{B84B842D-2737-4C1A-AAE6-50B7BA4D7C85}" dt="2024-07-08T09:37:45.614" v="296"/>
          <ac:spMkLst>
            <pc:docMk/>
            <pc:sldMk cId="3739598553" sldId="2147482024"/>
            <ac:spMk id="20" creationId="{73189489-DB78-B026-14BC-6C1C14E47689}"/>
          </ac:spMkLst>
        </pc:spChg>
        <pc:spChg chg="mod">
          <ac:chgData name="Annemarija Apine (LV)" userId="546f5c59-3b8d-47fd-b739-a8fadc631053" providerId="ADAL" clId="{B84B842D-2737-4C1A-AAE6-50B7BA4D7C85}" dt="2024-07-08T09:37:45.614" v="296"/>
          <ac:spMkLst>
            <pc:docMk/>
            <pc:sldMk cId="3739598553" sldId="2147482024"/>
            <ac:spMk id="21" creationId="{95AD808B-4BD9-C4C0-E3F1-906CB0F8F596}"/>
          </ac:spMkLst>
        </pc:spChg>
        <pc:grpChg chg="add mod">
          <ac:chgData name="Annemarija Apine (LV)" userId="546f5c59-3b8d-47fd-b739-a8fadc631053" providerId="ADAL" clId="{B84B842D-2737-4C1A-AAE6-50B7BA4D7C85}" dt="2024-07-08T09:37:45.614" v="296"/>
          <ac:grpSpMkLst>
            <pc:docMk/>
            <pc:sldMk cId="3739598553" sldId="2147482024"/>
            <ac:grpSpMk id="8" creationId="{69F9D196-24D5-92B4-5F3F-2986543DC6D1}"/>
          </ac:grpSpMkLst>
        </pc:grpChg>
        <pc:grpChg chg="del">
          <ac:chgData name="Annemarija Apine (LV)" userId="546f5c59-3b8d-47fd-b739-a8fadc631053" providerId="ADAL" clId="{B84B842D-2737-4C1A-AAE6-50B7BA4D7C85}" dt="2024-07-08T09:37:45.318" v="295" actId="478"/>
          <ac:grpSpMkLst>
            <pc:docMk/>
            <pc:sldMk cId="3739598553" sldId="2147482024"/>
            <ac:grpSpMk id="11" creationId="{C9A8E99C-EF1B-E3E4-C22B-CC7EE53AC44C}"/>
          </ac:grpSpMkLst>
        </pc:grpChg>
      </pc:sldChg>
      <pc:sldChg chg="addSp delSp modSp mod">
        <pc:chgData name="Annemarija Apine (LV)" userId="546f5c59-3b8d-47fd-b739-a8fadc631053" providerId="ADAL" clId="{B84B842D-2737-4C1A-AAE6-50B7BA4D7C85}" dt="2024-07-08T09:37:48.192" v="299"/>
        <pc:sldMkLst>
          <pc:docMk/>
          <pc:sldMk cId="1483846782" sldId="2147482034"/>
        </pc:sldMkLst>
        <pc:spChg chg="mod">
          <ac:chgData name="Annemarija Apine (LV)" userId="546f5c59-3b8d-47fd-b739-a8fadc631053" providerId="ADAL" clId="{B84B842D-2737-4C1A-AAE6-50B7BA4D7C85}" dt="2024-07-08T09:37:48.192" v="299"/>
          <ac:spMkLst>
            <pc:docMk/>
            <pc:sldMk cId="1483846782" sldId="2147482034"/>
            <ac:spMk id="14" creationId="{480104E4-A8C0-8F8A-D506-CE6F1972EA4B}"/>
          </ac:spMkLst>
        </pc:spChg>
        <pc:spChg chg="mod">
          <ac:chgData name="Annemarija Apine (LV)" userId="546f5c59-3b8d-47fd-b739-a8fadc631053" providerId="ADAL" clId="{B84B842D-2737-4C1A-AAE6-50B7BA4D7C85}" dt="2024-07-08T09:37:48.192" v="299"/>
          <ac:spMkLst>
            <pc:docMk/>
            <pc:sldMk cId="1483846782" sldId="2147482034"/>
            <ac:spMk id="15" creationId="{3235F84E-C536-E771-3F99-53AC918BCA42}"/>
          </ac:spMkLst>
        </pc:spChg>
        <pc:spChg chg="mod">
          <ac:chgData name="Annemarija Apine (LV)" userId="546f5c59-3b8d-47fd-b739-a8fadc631053" providerId="ADAL" clId="{B84B842D-2737-4C1A-AAE6-50B7BA4D7C85}" dt="2024-07-08T09:37:48.192" v="299"/>
          <ac:spMkLst>
            <pc:docMk/>
            <pc:sldMk cId="1483846782" sldId="2147482034"/>
            <ac:spMk id="17" creationId="{D08ADAED-AD45-4752-B370-F708EB8CC2F7}"/>
          </ac:spMkLst>
        </pc:spChg>
        <pc:spChg chg="mod">
          <ac:chgData name="Annemarija Apine (LV)" userId="546f5c59-3b8d-47fd-b739-a8fadc631053" providerId="ADAL" clId="{B84B842D-2737-4C1A-AAE6-50B7BA4D7C85}" dt="2024-07-08T09:37:48.192" v="299"/>
          <ac:spMkLst>
            <pc:docMk/>
            <pc:sldMk cId="1483846782" sldId="2147482034"/>
            <ac:spMk id="18" creationId="{21CF3848-474B-C510-D4E8-FB6DF41C8C9B}"/>
          </ac:spMkLst>
        </pc:spChg>
        <pc:grpChg chg="del">
          <ac:chgData name="Annemarija Apine (LV)" userId="546f5c59-3b8d-47fd-b739-a8fadc631053" providerId="ADAL" clId="{B84B842D-2737-4C1A-AAE6-50B7BA4D7C85}" dt="2024-07-08T09:37:47.987" v="298" actId="478"/>
          <ac:grpSpMkLst>
            <pc:docMk/>
            <pc:sldMk cId="1483846782" sldId="2147482034"/>
            <ac:grpSpMk id="3" creationId="{85BF6AB1-4D19-BE85-AC20-D089B390677F}"/>
          </ac:grpSpMkLst>
        </pc:grpChg>
        <pc:grpChg chg="add mod">
          <ac:chgData name="Annemarija Apine (LV)" userId="546f5c59-3b8d-47fd-b739-a8fadc631053" providerId="ADAL" clId="{B84B842D-2737-4C1A-AAE6-50B7BA4D7C85}" dt="2024-07-08T09:37:48.192" v="299"/>
          <ac:grpSpMkLst>
            <pc:docMk/>
            <pc:sldMk cId="1483846782" sldId="2147482034"/>
            <ac:grpSpMk id="8" creationId="{75F5317B-2907-F645-8A54-265859CE35F7}"/>
          </ac:grpSpMkLst>
        </pc:grpChg>
      </pc:sldChg>
      <pc:sldChg chg="addSp delSp modSp mod">
        <pc:chgData name="Annemarija Apine (LV)" userId="546f5c59-3b8d-47fd-b739-a8fadc631053" providerId="ADAL" clId="{B84B842D-2737-4C1A-AAE6-50B7BA4D7C85}" dt="2024-07-08T10:04:34.192" v="500" actId="20577"/>
        <pc:sldMkLst>
          <pc:docMk/>
          <pc:sldMk cId="342633353" sldId="2147482035"/>
        </pc:sldMkLst>
        <pc:spChg chg="mod">
          <ac:chgData name="Annemarija Apine (LV)" userId="546f5c59-3b8d-47fd-b739-a8fadc631053" providerId="ADAL" clId="{B84B842D-2737-4C1A-AAE6-50B7BA4D7C85}" dt="2024-07-08T09:37:52.959" v="302"/>
          <ac:spMkLst>
            <pc:docMk/>
            <pc:sldMk cId="342633353" sldId="2147482035"/>
            <ac:spMk id="35" creationId="{35A572F3-4848-C7EB-D5A6-10BE4DD7FB96}"/>
          </ac:spMkLst>
        </pc:spChg>
        <pc:spChg chg="mod">
          <ac:chgData name="Annemarija Apine (LV)" userId="546f5c59-3b8d-47fd-b739-a8fadc631053" providerId="ADAL" clId="{B84B842D-2737-4C1A-AAE6-50B7BA4D7C85}" dt="2024-07-08T10:04:34.192" v="500" actId="20577"/>
          <ac:spMkLst>
            <pc:docMk/>
            <pc:sldMk cId="342633353" sldId="2147482035"/>
            <ac:spMk id="44" creationId="{6E5DB64D-76D7-9485-6120-7F9ECA5B43C4}"/>
          </ac:spMkLst>
        </pc:spChg>
        <pc:spChg chg="mod">
          <ac:chgData name="Annemarija Apine (LV)" userId="546f5c59-3b8d-47fd-b739-a8fadc631053" providerId="ADAL" clId="{B84B842D-2737-4C1A-AAE6-50B7BA4D7C85}" dt="2024-07-08T09:37:52.959" v="302"/>
          <ac:spMkLst>
            <pc:docMk/>
            <pc:sldMk cId="342633353" sldId="2147482035"/>
            <ac:spMk id="53" creationId="{7A9CCA1A-9DAD-9F24-AC6C-44D07DC1D0EA}"/>
          </ac:spMkLst>
        </pc:spChg>
        <pc:spChg chg="mod">
          <ac:chgData name="Annemarija Apine (LV)" userId="546f5c59-3b8d-47fd-b739-a8fadc631053" providerId="ADAL" clId="{B84B842D-2737-4C1A-AAE6-50B7BA4D7C85}" dt="2024-07-08T09:37:52.959" v="302"/>
          <ac:spMkLst>
            <pc:docMk/>
            <pc:sldMk cId="342633353" sldId="2147482035"/>
            <ac:spMk id="57" creationId="{24B82DEB-E184-8373-46AB-C505B6049C82}"/>
          </ac:spMkLst>
        </pc:spChg>
        <pc:spChg chg="mod">
          <ac:chgData name="Annemarija Apine (LV)" userId="546f5c59-3b8d-47fd-b739-a8fadc631053" providerId="ADAL" clId="{B84B842D-2737-4C1A-AAE6-50B7BA4D7C85}" dt="2024-07-08T09:37:52.959" v="302"/>
          <ac:spMkLst>
            <pc:docMk/>
            <pc:sldMk cId="342633353" sldId="2147482035"/>
            <ac:spMk id="58" creationId="{1FC3B916-32D7-84FD-9CCB-194BE41572D3}"/>
          </ac:spMkLst>
        </pc:spChg>
        <pc:grpChg chg="del">
          <ac:chgData name="Annemarija Apine (LV)" userId="546f5c59-3b8d-47fd-b739-a8fadc631053" providerId="ADAL" clId="{B84B842D-2737-4C1A-AAE6-50B7BA4D7C85}" dt="2024-07-08T09:37:52.733" v="301" actId="478"/>
          <ac:grpSpMkLst>
            <pc:docMk/>
            <pc:sldMk cId="342633353" sldId="2147482035"/>
            <ac:grpSpMk id="7" creationId="{5C06E173-694E-7B3F-45EE-C6466226B803}"/>
          </ac:grpSpMkLst>
        </pc:grpChg>
        <pc:grpChg chg="add mod">
          <ac:chgData name="Annemarija Apine (LV)" userId="546f5c59-3b8d-47fd-b739-a8fadc631053" providerId="ADAL" clId="{B84B842D-2737-4C1A-AAE6-50B7BA4D7C85}" dt="2024-07-08T09:37:52.959" v="302"/>
          <ac:grpSpMkLst>
            <pc:docMk/>
            <pc:sldMk cId="342633353" sldId="2147482035"/>
            <ac:grpSpMk id="23" creationId="{5AA1FFED-D4D2-13AA-BCF0-003F04A3C2AE}"/>
          </ac:grpSpMkLst>
        </pc:grpChg>
      </pc:sldChg>
      <pc:sldChg chg="modSp mod">
        <pc:chgData name="Annemarija Apine (LV)" userId="546f5c59-3b8d-47fd-b739-a8fadc631053" providerId="ADAL" clId="{B84B842D-2737-4C1A-AAE6-50B7BA4D7C85}" dt="2024-07-08T09:59:32.370" v="452" actId="20577"/>
        <pc:sldMkLst>
          <pc:docMk/>
          <pc:sldMk cId="397739886" sldId="2147482037"/>
        </pc:sldMkLst>
        <pc:spChg chg="mod">
          <ac:chgData name="Annemarija Apine (LV)" userId="546f5c59-3b8d-47fd-b739-a8fadc631053" providerId="ADAL" clId="{B84B842D-2737-4C1A-AAE6-50B7BA4D7C85}" dt="2024-07-08T09:37:26.473" v="279"/>
          <ac:spMkLst>
            <pc:docMk/>
            <pc:sldMk cId="397739886" sldId="2147482037"/>
            <ac:spMk id="5" creationId="{CCBABEB7-6940-84C0-1E8E-6B582ECF3BE7}"/>
          </ac:spMkLst>
        </pc:spChg>
        <pc:spChg chg="mod">
          <ac:chgData name="Annemarija Apine (LV)" userId="546f5c59-3b8d-47fd-b739-a8fadc631053" providerId="ADAL" clId="{B84B842D-2737-4C1A-AAE6-50B7BA4D7C85}" dt="2024-07-08T09:59:11.261" v="444" actId="947"/>
          <ac:spMkLst>
            <pc:docMk/>
            <pc:sldMk cId="397739886" sldId="2147482037"/>
            <ac:spMk id="12" creationId="{879A926F-6658-DAA7-02B9-E966021CE708}"/>
          </ac:spMkLst>
        </pc:spChg>
        <pc:spChg chg="mod">
          <ac:chgData name="Annemarija Apine (LV)" userId="546f5c59-3b8d-47fd-b739-a8fadc631053" providerId="ADAL" clId="{B84B842D-2737-4C1A-AAE6-50B7BA4D7C85}" dt="2024-07-08T09:59:32.370" v="452" actId="20577"/>
          <ac:spMkLst>
            <pc:docMk/>
            <pc:sldMk cId="397739886" sldId="2147482037"/>
            <ac:spMk id="60" creationId="{69AC082A-899D-C3B0-421D-F82747759664}"/>
          </ac:spMkLst>
        </pc:spChg>
      </pc:sldChg>
      <pc:sldChg chg="addSp delSp modSp mod">
        <pc:chgData name="Annemarija Apine (LV)" userId="546f5c59-3b8d-47fd-b739-a8fadc631053" providerId="ADAL" clId="{B84B842D-2737-4C1A-AAE6-50B7BA4D7C85}" dt="2024-07-08T09:37:34.206" v="284"/>
        <pc:sldMkLst>
          <pc:docMk/>
          <pc:sldMk cId="1484393183" sldId="2147482038"/>
        </pc:sldMkLst>
        <pc:spChg chg="mod">
          <ac:chgData name="Annemarija Apine (LV)" userId="546f5c59-3b8d-47fd-b739-a8fadc631053" providerId="ADAL" clId="{B84B842D-2737-4C1A-AAE6-50B7BA4D7C85}" dt="2024-07-08T09:37:34.206" v="284"/>
          <ac:spMkLst>
            <pc:docMk/>
            <pc:sldMk cId="1484393183" sldId="2147482038"/>
            <ac:spMk id="15" creationId="{9B2D445F-E57F-45B8-E156-3C79D442AA00}"/>
          </ac:spMkLst>
        </pc:spChg>
        <pc:spChg chg="mod">
          <ac:chgData name="Annemarija Apine (LV)" userId="546f5c59-3b8d-47fd-b739-a8fadc631053" providerId="ADAL" clId="{B84B842D-2737-4C1A-AAE6-50B7BA4D7C85}" dt="2024-07-08T09:37:34.206" v="284"/>
          <ac:spMkLst>
            <pc:docMk/>
            <pc:sldMk cId="1484393183" sldId="2147482038"/>
            <ac:spMk id="18" creationId="{C59808E5-8373-811A-F582-270C9A4EE3A9}"/>
          </ac:spMkLst>
        </pc:spChg>
        <pc:spChg chg="mod">
          <ac:chgData name="Annemarija Apine (LV)" userId="546f5c59-3b8d-47fd-b739-a8fadc631053" providerId="ADAL" clId="{B84B842D-2737-4C1A-AAE6-50B7BA4D7C85}" dt="2024-07-08T09:37:34.206" v="284"/>
          <ac:spMkLst>
            <pc:docMk/>
            <pc:sldMk cId="1484393183" sldId="2147482038"/>
            <ac:spMk id="19" creationId="{21C1C6EF-E73D-A796-08E3-45F679DE7BE3}"/>
          </ac:spMkLst>
        </pc:spChg>
        <pc:spChg chg="mod">
          <ac:chgData name="Annemarija Apine (LV)" userId="546f5c59-3b8d-47fd-b739-a8fadc631053" providerId="ADAL" clId="{B84B842D-2737-4C1A-AAE6-50B7BA4D7C85}" dt="2024-07-08T09:37:34.206" v="284"/>
          <ac:spMkLst>
            <pc:docMk/>
            <pc:sldMk cId="1484393183" sldId="2147482038"/>
            <ac:spMk id="22" creationId="{B654F3B5-F172-BB8E-94DB-132AAC6AD2BE}"/>
          </ac:spMkLst>
        </pc:spChg>
        <pc:grpChg chg="del">
          <ac:chgData name="Annemarija Apine (LV)" userId="546f5c59-3b8d-47fd-b739-a8fadc631053" providerId="ADAL" clId="{B84B842D-2737-4C1A-AAE6-50B7BA4D7C85}" dt="2024-07-08T09:37:33.950" v="283" actId="478"/>
          <ac:grpSpMkLst>
            <pc:docMk/>
            <pc:sldMk cId="1484393183" sldId="2147482038"/>
            <ac:grpSpMk id="6" creationId="{CE47CDB6-747C-8F68-86FE-E6F240F2BE03}"/>
          </ac:grpSpMkLst>
        </pc:grpChg>
        <pc:grpChg chg="add mod">
          <ac:chgData name="Annemarija Apine (LV)" userId="546f5c59-3b8d-47fd-b739-a8fadc631053" providerId="ADAL" clId="{B84B842D-2737-4C1A-AAE6-50B7BA4D7C85}" dt="2024-07-08T09:37:34.206" v="284"/>
          <ac:grpSpMkLst>
            <pc:docMk/>
            <pc:sldMk cId="1484393183" sldId="2147482038"/>
            <ac:grpSpMk id="14" creationId="{5C87E069-4E84-08CD-4CF6-313BFE3D5A7D}"/>
          </ac:grpSpMkLst>
        </pc:grpChg>
      </pc:sldChg>
      <pc:sldChg chg="modSp mod">
        <pc:chgData name="Annemarija Apine (LV)" userId="546f5c59-3b8d-47fd-b739-a8fadc631053" providerId="ADAL" clId="{B84B842D-2737-4C1A-AAE6-50B7BA4D7C85}" dt="2024-07-08T09:36:15.426" v="202" actId="207"/>
        <pc:sldMkLst>
          <pc:docMk/>
          <pc:sldMk cId="1263383797" sldId="2147482073"/>
        </pc:sldMkLst>
        <pc:spChg chg="mod">
          <ac:chgData name="Annemarija Apine (LV)" userId="546f5c59-3b8d-47fd-b739-a8fadc631053" providerId="ADAL" clId="{B84B842D-2737-4C1A-AAE6-50B7BA4D7C85}" dt="2024-07-08T09:36:15.426" v="202" actId="207"/>
          <ac:spMkLst>
            <pc:docMk/>
            <pc:sldMk cId="1263383797" sldId="2147482073"/>
            <ac:spMk id="6" creationId="{32FA323C-4DF5-909B-878D-1628B45E296E}"/>
          </ac:spMkLst>
        </pc:spChg>
        <pc:spChg chg="mod">
          <ac:chgData name="Annemarija Apine (LV)" userId="546f5c59-3b8d-47fd-b739-a8fadc631053" providerId="ADAL" clId="{B84B842D-2737-4C1A-AAE6-50B7BA4D7C85}" dt="2024-07-08T09:35:55.030" v="194"/>
          <ac:spMkLst>
            <pc:docMk/>
            <pc:sldMk cId="1263383797" sldId="2147482073"/>
            <ac:spMk id="17" creationId="{B1F2C88E-5233-4E2E-BB0B-A705ECD84F7F}"/>
          </ac:spMkLst>
        </pc:spChg>
        <pc:spChg chg="mod">
          <ac:chgData name="Annemarija Apine (LV)" userId="546f5c59-3b8d-47fd-b739-a8fadc631053" providerId="ADAL" clId="{B84B842D-2737-4C1A-AAE6-50B7BA4D7C85}" dt="2024-07-08T09:35:47.950" v="191" actId="20577"/>
          <ac:spMkLst>
            <pc:docMk/>
            <pc:sldMk cId="1263383797" sldId="2147482073"/>
            <ac:spMk id="23" creationId="{49DD505E-001C-3EE5-70FA-4E70E3127E7F}"/>
          </ac:spMkLst>
        </pc:spChg>
        <pc:spChg chg="mod">
          <ac:chgData name="Annemarija Apine (LV)" userId="546f5c59-3b8d-47fd-b739-a8fadc631053" providerId="ADAL" clId="{B84B842D-2737-4C1A-AAE6-50B7BA4D7C85}" dt="2024-07-08T09:35:42.033" v="181"/>
          <ac:spMkLst>
            <pc:docMk/>
            <pc:sldMk cId="1263383797" sldId="2147482073"/>
            <ac:spMk id="24" creationId="{2DA901CD-6E45-11E8-9C9D-BF9F0B40E75C}"/>
          </ac:spMkLst>
        </pc:spChg>
        <pc:spChg chg="mod">
          <ac:chgData name="Annemarija Apine (LV)" userId="546f5c59-3b8d-47fd-b739-a8fadc631053" providerId="ADAL" clId="{B84B842D-2737-4C1A-AAE6-50B7BA4D7C85}" dt="2024-07-08T09:36:05.426" v="201" actId="20577"/>
          <ac:spMkLst>
            <pc:docMk/>
            <pc:sldMk cId="1263383797" sldId="2147482073"/>
            <ac:spMk id="34" creationId="{B7B8A45B-AEFD-DCA9-0558-B0D90D3C7B43}"/>
          </ac:spMkLst>
        </pc:spChg>
      </pc:sldChg>
      <pc:sldChg chg="modSp mod">
        <pc:chgData name="Annemarija Apine (LV)" userId="546f5c59-3b8d-47fd-b739-a8fadc631053" providerId="ADAL" clId="{B84B842D-2737-4C1A-AAE6-50B7BA4D7C85}" dt="2024-07-08T09:36:28.105" v="220" actId="20577"/>
        <pc:sldMkLst>
          <pc:docMk/>
          <pc:sldMk cId="3483533037" sldId="2147482089"/>
        </pc:sldMkLst>
        <pc:spChg chg="mod">
          <ac:chgData name="Annemarija Apine (LV)" userId="546f5c59-3b8d-47fd-b739-a8fadc631053" providerId="ADAL" clId="{B84B842D-2737-4C1A-AAE6-50B7BA4D7C85}" dt="2024-07-08T09:36:28.105" v="220" actId="20577"/>
          <ac:spMkLst>
            <pc:docMk/>
            <pc:sldMk cId="3483533037" sldId="2147482089"/>
            <ac:spMk id="2" creationId="{00000000-0000-0000-0000-000000000000}"/>
          </ac:spMkLst>
        </pc:spChg>
      </pc:sldChg>
      <pc:sldChg chg="delSp mod">
        <pc:chgData name="Annemarija Apine (LV)" userId="546f5c59-3b8d-47fd-b739-a8fadc631053" providerId="ADAL" clId="{B84B842D-2737-4C1A-AAE6-50B7BA4D7C85}" dt="2024-07-08T09:37:31.201" v="281" actId="478"/>
        <pc:sldMkLst>
          <pc:docMk/>
          <pc:sldMk cId="266540937" sldId="2147482091"/>
        </pc:sldMkLst>
        <pc:grpChg chg="del">
          <ac:chgData name="Annemarija Apine (LV)" userId="546f5c59-3b8d-47fd-b739-a8fadc631053" providerId="ADAL" clId="{B84B842D-2737-4C1A-AAE6-50B7BA4D7C85}" dt="2024-07-08T09:37:31.201" v="281" actId="478"/>
          <ac:grpSpMkLst>
            <pc:docMk/>
            <pc:sldMk cId="266540937" sldId="2147482091"/>
            <ac:grpSpMk id="7" creationId="{EF5B1E8E-3E62-4256-EC15-8DAC6A8FD603}"/>
          </ac:grpSpMkLst>
        </pc:grpChg>
      </pc:sldChg>
      <pc:sldChg chg="modSp mod">
        <pc:chgData name="Annemarija Apine (LV)" userId="546f5c59-3b8d-47fd-b739-a8fadc631053" providerId="ADAL" clId="{B84B842D-2737-4C1A-AAE6-50B7BA4D7C85}" dt="2024-07-08T10:09:41.426" v="643" actId="20577"/>
        <pc:sldMkLst>
          <pc:docMk/>
          <pc:sldMk cId="1790640457" sldId="2147482094"/>
        </pc:sldMkLst>
        <pc:spChg chg="mod">
          <ac:chgData name="Annemarija Apine (LV)" userId="546f5c59-3b8d-47fd-b739-a8fadc631053" providerId="ADAL" clId="{B84B842D-2737-4C1A-AAE6-50B7BA4D7C85}" dt="2024-07-08T10:09:41.426" v="643" actId="20577"/>
          <ac:spMkLst>
            <pc:docMk/>
            <pc:sldMk cId="1790640457" sldId="2147482094"/>
            <ac:spMk id="12" creationId="{972A7998-816F-826F-D470-21259763D3BA}"/>
          </ac:spMkLst>
        </pc:spChg>
      </pc:sldChg>
      <pc:sldChg chg="modSp mod">
        <pc:chgData name="Annemarija Apine (LV)" userId="546f5c59-3b8d-47fd-b739-a8fadc631053" providerId="ADAL" clId="{B84B842D-2737-4C1A-AAE6-50B7BA4D7C85}" dt="2024-07-08T10:06:11.351" v="535" actId="20577"/>
        <pc:sldMkLst>
          <pc:docMk/>
          <pc:sldMk cId="385369569" sldId="2147482100"/>
        </pc:sldMkLst>
        <pc:spChg chg="mod">
          <ac:chgData name="Annemarija Apine (LV)" userId="546f5c59-3b8d-47fd-b739-a8fadc631053" providerId="ADAL" clId="{B84B842D-2737-4C1A-AAE6-50B7BA4D7C85}" dt="2024-07-08T10:05:45.902" v="527" actId="20577"/>
          <ac:spMkLst>
            <pc:docMk/>
            <pc:sldMk cId="385369569" sldId="2147482100"/>
            <ac:spMk id="37" creationId="{F8DA8802-9BC8-065F-5AA6-BD78F056BC7A}"/>
          </ac:spMkLst>
        </pc:spChg>
        <pc:spChg chg="mod">
          <ac:chgData name="Annemarija Apine (LV)" userId="546f5c59-3b8d-47fd-b739-a8fadc631053" providerId="ADAL" clId="{B84B842D-2737-4C1A-AAE6-50B7BA4D7C85}" dt="2024-07-08T10:05:54.711" v="529" actId="20577"/>
          <ac:spMkLst>
            <pc:docMk/>
            <pc:sldMk cId="385369569" sldId="2147482100"/>
            <ac:spMk id="39" creationId="{0EF24B69-F68A-AA73-E401-29E429809714}"/>
          </ac:spMkLst>
        </pc:spChg>
        <pc:spChg chg="mod">
          <ac:chgData name="Annemarija Apine (LV)" userId="546f5c59-3b8d-47fd-b739-a8fadc631053" providerId="ADAL" clId="{B84B842D-2737-4C1A-AAE6-50B7BA4D7C85}" dt="2024-07-08T10:05:58.403" v="531" actId="20577"/>
          <ac:spMkLst>
            <pc:docMk/>
            <pc:sldMk cId="385369569" sldId="2147482100"/>
            <ac:spMk id="43" creationId="{196EC982-36C1-885A-26A4-7ABFE845ED01}"/>
          </ac:spMkLst>
        </pc:spChg>
        <pc:spChg chg="mod">
          <ac:chgData name="Annemarija Apine (LV)" userId="546f5c59-3b8d-47fd-b739-a8fadc631053" providerId="ADAL" clId="{B84B842D-2737-4C1A-AAE6-50B7BA4D7C85}" dt="2024-07-08T10:06:02.346" v="533" actId="20577"/>
          <ac:spMkLst>
            <pc:docMk/>
            <pc:sldMk cId="385369569" sldId="2147482100"/>
            <ac:spMk id="49" creationId="{FB6F852C-2CA8-C4D2-B095-D1AECCF1F7AB}"/>
          </ac:spMkLst>
        </pc:spChg>
        <pc:spChg chg="mod">
          <ac:chgData name="Annemarija Apine (LV)" userId="546f5c59-3b8d-47fd-b739-a8fadc631053" providerId="ADAL" clId="{B84B842D-2737-4C1A-AAE6-50B7BA4D7C85}" dt="2024-07-08T10:06:11.351" v="535" actId="20577"/>
          <ac:spMkLst>
            <pc:docMk/>
            <pc:sldMk cId="385369569" sldId="2147482100"/>
            <ac:spMk id="114" creationId="{C811D597-70F7-1779-21A3-651A58A939DA}"/>
          </ac:spMkLst>
        </pc:spChg>
      </pc:sldChg>
      <pc:sldMasterChg chg="modSldLayout">
        <pc:chgData name="Annemarija Apine (LV)" userId="546f5c59-3b8d-47fd-b739-a8fadc631053" providerId="ADAL" clId="{B84B842D-2737-4C1A-AAE6-50B7BA4D7C85}" dt="2024-07-08T09:30:30.644" v="12" actId="947"/>
        <pc:sldMasterMkLst>
          <pc:docMk/>
          <pc:sldMasterMk cId="3011101579" sldId="2147483723"/>
        </pc:sldMasterMkLst>
        <pc:sldLayoutChg chg="modSp mod">
          <pc:chgData name="Annemarija Apine (LV)" userId="546f5c59-3b8d-47fd-b739-a8fadc631053" providerId="ADAL" clId="{B84B842D-2737-4C1A-AAE6-50B7BA4D7C85}" dt="2024-07-08T09:30:30.644" v="12" actId="947"/>
          <pc:sldLayoutMkLst>
            <pc:docMk/>
            <pc:sldMasterMk cId="3011101579" sldId="2147483723"/>
            <pc:sldLayoutMk cId="1531588365" sldId="2147483786"/>
          </pc:sldLayoutMkLst>
          <pc:spChg chg="mod">
            <ac:chgData name="Annemarija Apine (LV)" userId="546f5c59-3b8d-47fd-b739-a8fadc631053" providerId="ADAL" clId="{B84B842D-2737-4C1A-AAE6-50B7BA4D7C85}" dt="2024-07-08T09:30:30.644" v="12" actId="947"/>
            <ac:spMkLst>
              <pc:docMk/>
              <pc:sldMasterMk cId="3011101579" sldId="2147483723"/>
              <pc:sldLayoutMk cId="1531588365" sldId="2147483786"/>
              <ac:spMk id="6" creationId="{809D7AE3-DC09-FADC-3E28-1C9D0E1377CC}"/>
            </ac:spMkLst>
          </pc:spChg>
        </pc:sldLayoutChg>
      </pc:sldMasterChg>
    </pc:docChg>
  </pc:docChgLst>
  <pc:docChgLst>
    <pc:chgData name="Annemarija Apine (LV)" userId="S::annemarija.apine@pwc.com::546f5c59-3b8d-47fd-b739-a8fadc631053" providerId="AD" clId="Web-{8DBB34C3-B833-B63B-A1F0-48373F4A737D}"/>
    <pc:docChg chg="modSld">
      <pc:chgData name="Annemarija Apine (LV)" userId="S::annemarija.apine@pwc.com::546f5c59-3b8d-47fd-b739-a8fadc631053" providerId="AD" clId="Web-{8DBB34C3-B833-B63B-A1F0-48373F4A737D}" dt="2024-07-08T10:38:36.972" v="5" actId="20577"/>
      <pc:docMkLst>
        <pc:docMk/>
      </pc:docMkLst>
      <pc:sldChg chg="modSp">
        <pc:chgData name="Annemarija Apine (LV)" userId="S::annemarija.apine@pwc.com::546f5c59-3b8d-47fd-b739-a8fadc631053" providerId="AD" clId="Web-{8DBB34C3-B833-B63B-A1F0-48373F4A737D}" dt="2024-07-08T10:38:36.972" v="5" actId="20577"/>
        <pc:sldMkLst>
          <pc:docMk/>
          <pc:sldMk cId="1373554732" sldId="2147481893"/>
        </pc:sldMkLst>
        <pc:spChg chg="mod">
          <ac:chgData name="Annemarija Apine (LV)" userId="S::annemarija.apine@pwc.com::546f5c59-3b8d-47fd-b739-a8fadc631053" providerId="AD" clId="Web-{8DBB34C3-B833-B63B-A1F0-48373F4A737D}" dt="2024-07-08T10:38:36.972" v="5" actId="20577"/>
          <ac:spMkLst>
            <pc:docMk/>
            <pc:sldMk cId="1373554732" sldId="2147481893"/>
            <ac:spMk id="9" creationId="{E69B39FE-875A-489D-52D4-533D10EBC3B1}"/>
          </ac:spMkLst>
        </pc:spChg>
      </pc:sldChg>
    </pc:docChg>
  </pc:docChgLst>
  <pc:docChgLst>
    <pc:chgData name="Petro Petrashko (UA)" userId="5b2b3b98-3131-48c7-bb8a-19b196a36949" providerId="ADAL" clId="{351FE23D-61E3-4217-9757-ECF8C23312BF}"/>
    <pc:docChg chg="undo redo custSel modSld sldOrd replTag">
      <pc:chgData name="Petro Petrashko (UA)" userId="5b2b3b98-3131-48c7-bb8a-19b196a36949" providerId="ADAL" clId="{351FE23D-61E3-4217-9757-ECF8C23312BF}" dt="2024-06-26T15:02:36.449" v="1229"/>
      <pc:docMkLst>
        <pc:docMk/>
      </pc:docMkLst>
      <pc:sldChg chg="modSp mod">
        <pc:chgData name="Petro Petrashko (UA)" userId="5b2b3b98-3131-48c7-bb8a-19b196a36949" providerId="ADAL" clId="{351FE23D-61E3-4217-9757-ECF8C23312BF}" dt="2024-06-26T14:43:38.211" v="1223" actId="554"/>
        <pc:sldMkLst>
          <pc:docMk/>
          <pc:sldMk cId="1373554732" sldId="2147481893"/>
        </pc:sldMkLst>
        <pc:spChg chg="mod">
          <ac:chgData name="Petro Petrashko (UA)" userId="5b2b3b98-3131-48c7-bb8a-19b196a36949" providerId="ADAL" clId="{351FE23D-61E3-4217-9757-ECF8C23312BF}" dt="2024-06-26T14:43:38.211" v="1223" actId="554"/>
          <ac:spMkLst>
            <pc:docMk/>
            <pc:sldMk cId="1373554732" sldId="2147481893"/>
            <ac:spMk id="22" creationId="{1DD6BAA7-6B8B-B5D1-983C-47F7088D2D65}"/>
          </ac:spMkLst>
        </pc:spChg>
        <pc:picChg chg="mod">
          <ac:chgData name="Petro Petrashko (UA)" userId="5b2b3b98-3131-48c7-bb8a-19b196a36949" providerId="ADAL" clId="{351FE23D-61E3-4217-9757-ECF8C23312BF}" dt="2024-06-26T14:43:30.788" v="1222" actId="14826"/>
          <ac:picMkLst>
            <pc:docMk/>
            <pc:sldMk cId="1373554732" sldId="2147481893"/>
            <ac:picMk id="24" creationId="{6333E015-E3E5-C297-ECEF-3FBADE746AAA}"/>
          </ac:picMkLst>
        </pc:picChg>
      </pc:sldChg>
      <pc:sldChg chg="addSp delSp modSp mod">
        <pc:chgData name="Petro Petrashko (UA)" userId="5b2b3b98-3131-48c7-bb8a-19b196a36949" providerId="ADAL" clId="{351FE23D-61E3-4217-9757-ECF8C23312BF}" dt="2024-06-26T14:10:28.907" v="677"/>
        <pc:sldMkLst>
          <pc:docMk/>
          <pc:sldMk cId="2214180997" sldId="2147481982"/>
        </pc:sldMkLst>
        <pc:spChg chg="mod">
          <ac:chgData name="Petro Petrashko (UA)" userId="5b2b3b98-3131-48c7-bb8a-19b196a36949" providerId="ADAL" clId="{351FE23D-61E3-4217-9757-ECF8C23312BF}" dt="2024-06-26T14:10:28.833" v="640" actId="948"/>
          <ac:spMkLst>
            <pc:docMk/>
            <pc:sldMk cId="2214180997" sldId="2147481982"/>
            <ac:spMk id="2" creationId="{EC47296D-9568-ED7D-0457-80174E2BF2F8}"/>
          </ac:spMkLst>
        </pc:spChg>
        <pc:spChg chg="mod">
          <ac:chgData name="Petro Petrashko (UA)" userId="5b2b3b98-3131-48c7-bb8a-19b196a36949" providerId="ADAL" clId="{351FE23D-61E3-4217-9757-ECF8C23312BF}" dt="2024-06-26T13:58:33.652" v="198"/>
          <ac:spMkLst>
            <pc:docMk/>
            <pc:sldMk cId="2214180997" sldId="2147481982"/>
            <ac:spMk id="10" creationId="{9AAFC7C1-D5FA-DC92-17EE-9B18D1BC0CFD}"/>
          </ac:spMkLst>
        </pc:spChg>
        <pc:spChg chg="mod">
          <ac:chgData name="Petro Petrashko (UA)" userId="5b2b3b98-3131-48c7-bb8a-19b196a36949" providerId="ADAL" clId="{351FE23D-61E3-4217-9757-ECF8C23312BF}" dt="2024-06-26T13:58:33.652" v="198"/>
          <ac:spMkLst>
            <pc:docMk/>
            <pc:sldMk cId="2214180997" sldId="2147481982"/>
            <ac:spMk id="11" creationId="{DBBB937E-79A3-0BC6-6183-0CC15618589A}"/>
          </ac:spMkLst>
        </pc:spChg>
        <pc:spChg chg="add del mod">
          <ac:chgData name="Petro Petrashko (UA)" userId="5b2b3b98-3131-48c7-bb8a-19b196a36949" providerId="ADAL" clId="{351FE23D-61E3-4217-9757-ECF8C23312BF}" dt="2024-06-26T14:00:01.843" v="285" actId="478"/>
          <ac:spMkLst>
            <pc:docMk/>
            <pc:sldMk cId="2214180997" sldId="2147481982"/>
            <ac:spMk id="19" creationId="{5237B8F0-6587-BF89-E6EC-EB2837C5B73B}"/>
          </ac:spMkLst>
        </pc:spChg>
        <pc:spChg chg="mod topLvl">
          <ac:chgData name="Petro Petrashko (UA)" userId="5b2b3b98-3131-48c7-bb8a-19b196a36949" providerId="ADAL" clId="{351FE23D-61E3-4217-9757-ECF8C23312BF}" dt="2024-06-26T13:59:22.611" v="214" actId="165"/>
          <ac:spMkLst>
            <pc:docMk/>
            <pc:sldMk cId="2214180997" sldId="2147481982"/>
            <ac:spMk id="20" creationId="{A4EAD244-3E35-CF16-9610-C9DD5B3A3D07}"/>
          </ac:spMkLst>
        </pc:spChg>
        <pc:spChg chg="add del mod modVis">
          <ac:chgData name="Petro Petrashko (UA)" userId="5b2b3b98-3131-48c7-bb8a-19b196a36949" providerId="ADAL" clId="{351FE23D-61E3-4217-9757-ECF8C23312BF}" dt="2024-06-26T13:59:41.130" v="257"/>
          <ac:spMkLst>
            <pc:docMk/>
            <pc:sldMk cId="2214180997" sldId="2147481982"/>
            <ac:spMk id="21" creationId="{7696B956-FA14-470D-78C3-CBB54FE9D82E}"/>
          </ac:spMkLst>
        </pc:spChg>
        <pc:spChg chg="add del mod">
          <ac:chgData name="Petro Petrashko (UA)" userId="5b2b3b98-3131-48c7-bb8a-19b196a36949" providerId="ADAL" clId="{351FE23D-61E3-4217-9757-ECF8C23312BF}" dt="2024-06-26T14:00:41.634" v="319" actId="478"/>
          <ac:spMkLst>
            <pc:docMk/>
            <pc:sldMk cId="2214180997" sldId="2147481982"/>
            <ac:spMk id="28" creationId="{087EBFA9-6CCA-836D-FA31-6E69D5561403}"/>
          </ac:spMkLst>
        </pc:spChg>
        <pc:spChg chg="mod">
          <ac:chgData name="Petro Petrashko (UA)" userId="5b2b3b98-3131-48c7-bb8a-19b196a36949" providerId="ADAL" clId="{351FE23D-61E3-4217-9757-ECF8C23312BF}" dt="2024-06-26T14:00:45.086" v="322"/>
          <ac:spMkLst>
            <pc:docMk/>
            <pc:sldMk cId="2214180997" sldId="2147481982"/>
            <ac:spMk id="31" creationId="{8DE13536-A414-5879-B5F0-8B9D718DFD12}"/>
          </ac:spMkLst>
        </pc:spChg>
        <pc:spChg chg="mod">
          <ac:chgData name="Petro Petrashko (UA)" userId="5b2b3b98-3131-48c7-bb8a-19b196a36949" providerId="ADAL" clId="{351FE23D-61E3-4217-9757-ECF8C23312BF}" dt="2024-06-26T14:00:45.086" v="322"/>
          <ac:spMkLst>
            <pc:docMk/>
            <pc:sldMk cId="2214180997" sldId="2147481982"/>
            <ac:spMk id="32" creationId="{88BCD621-E023-9382-9974-4AF2CD113D06}"/>
          </ac:spMkLst>
        </pc:spChg>
        <pc:spChg chg="add del mod modVis">
          <ac:chgData name="Petro Petrashko (UA)" userId="5b2b3b98-3131-48c7-bb8a-19b196a36949" providerId="ADAL" clId="{351FE23D-61E3-4217-9757-ECF8C23312BF}" dt="2024-06-26T14:01:45.717" v="400"/>
          <ac:spMkLst>
            <pc:docMk/>
            <pc:sldMk cId="2214180997" sldId="2147481982"/>
            <ac:spMk id="34" creationId="{5CF14C9A-CA34-685E-1956-2C05C3E088EE}"/>
          </ac:spMkLst>
        </pc:spChg>
        <pc:spChg chg="mod">
          <ac:chgData name="Petro Petrashko (UA)" userId="5b2b3b98-3131-48c7-bb8a-19b196a36949" providerId="ADAL" clId="{351FE23D-61E3-4217-9757-ECF8C23312BF}" dt="2024-06-26T14:02:07.861" v="453"/>
          <ac:spMkLst>
            <pc:docMk/>
            <pc:sldMk cId="2214180997" sldId="2147481982"/>
            <ac:spMk id="36" creationId="{DAF29E4A-EC6B-2255-B4E0-EDEAD31E0673}"/>
          </ac:spMkLst>
        </pc:spChg>
        <pc:spChg chg="mod">
          <ac:chgData name="Petro Petrashko (UA)" userId="5b2b3b98-3131-48c7-bb8a-19b196a36949" providerId="ADAL" clId="{351FE23D-61E3-4217-9757-ECF8C23312BF}" dt="2024-06-26T14:02:07.861" v="453"/>
          <ac:spMkLst>
            <pc:docMk/>
            <pc:sldMk cId="2214180997" sldId="2147481982"/>
            <ac:spMk id="37" creationId="{4D4B2B8F-7EC7-2852-A668-1147D26FCF91}"/>
          </ac:spMkLst>
        </pc:spChg>
        <pc:spChg chg="add del mod modVis">
          <ac:chgData name="Petro Petrashko (UA)" userId="5b2b3b98-3131-48c7-bb8a-19b196a36949" providerId="ADAL" clId="{351FE23D-61E3-4217-9757-ECF8C23312BF}" dt="2024-06-26T14:10:28.903" v="675"/>
          <ac:spMkLst>
            <pc:docMk/>
            <pc:sldMk cId="2214180997" sldId="2147481982"/>
            <ac:spMk id="39" creationId="{9A241D04-DC3E-BA0C-1493-2EE654FD137D}"/>
          </ac:spMkLst>
        </pc:spChg>
        <pc:spChg chg="mod topLvl">
          <ac:chgData name="Petro Petrashko (UA)" userId="5b2b3b98-3131-48c7-bb8a-19b196a36949" providerId="ADAL" clId="{351FE23D-61E3-4217-9757-ECF8C23312BF}" dt="2024-06-26T13:59:22.611" v="214" actId="165"/>
          <ac:spMkLst>
            <pc:docMk/>
            <pc:sldMk cId="2214180997" sldId="2147481982"/>
            <ac:spMk id="40" creationId="{0397F1B3-1DAC-781B-5BE5-08FA024DC19C}"/>
          </ac:spMkLst>
        </pc:spChg>
        <pc:spChg chg="mod topLvl">
          <ac:chgData name="Petro Petrashko (UA)" userId="5b2b3b98-3131-48c7-bb8a-19b196a36949" providerId="ADAL" clId="{351FE23D-61E3-4217-9757-ECF8C23312BF}" dt="2024-06-26T13:59:22.611" v="214" actId="165"/>
          <ac:spMkLst>
            <pc:docMk/>
            <pc:sldMk cId="2214180997" sldId="2147481982"/>
            <ac:spMk id="41" creationId="{66A14158-E11A-E312-8696-ADD9D0E04629}"/>
          </ac:spMkLst>
        </pc:spChg>
        <pc:spChg chg="mod topLvl">
          <ac:chgData name="Petro Petrashko (UA)" userId="5b2b3b98-3131-48c7-bb8a-19b196a36949" providerId="ADAL" clId="{351FE23D-61E3-4217-9757-ECF8C23312BF}" dt="2024-06-26T13:59:22.611" v="214" actId="165"/>
          <ac:spMkLst>
            <pc:docMk/>
            <pc:sldMk cId="2214180997" sldId="2147481982"/>
            <ac:spMk id="42" creationId="{986F6EBD-76CF-AA8A-DC11-0900DE8A8EB0}"/>
          </ac:spMkLst>
        </pc:spChg>
        <pc:spChg chg="mod topLvl">
          <ac:chgData name="Petro Petrashko (UA)" userId="5b2b3b98-3131-48c7-bb8a-19b196a36949" providerId="ADAL" clId="{351FE23D-61E3-4217-9757-ECF8C23312BF}" dt="2024-06-26T13:59:22.611" v="214" actId="165"/>
          <ac:spMkLst>
            <pc:docMk/>
            <pc:sldMk cId="2214180997" sldId="2147481982"/>
            <ac:spMk id="52" creationId="{54140961-D367-FFB1-E0FC-3F385487D472}"/>
          </ac:spMkLst>
        </pc:spChg>
        <pc:spChg chg="mod topLvl">
          <ac:chgData name="Petro Petrashko (UA)" userId="5b2b3b98-3131-48c7-bb8a-19b196a36949" providerId="ADAL" clId="{351FE23D-61E3-4217-9757-ECF8C23312BF}" dt="2024-06-26T14:02:13.550" v="455" actId="164"/>
          <ac:spMkLst>
            <pc:docMk/>
            <pc:sldMk cId="2214180997" sldId="2147481982"/>
            <ac:spMk id="57" creationId="{A073C5EE-5299-ADD0-94D7-3170276FA166}"/>
          </ac:spMkLst>
        </pc:spChg>
        <pc:spChg chg="mod topLvl">
          <ac:chgData name="Petro Petrashko (UA)" userId="5b2b3b98-3131-48c7-bb8a-19b196a36949" providerId="ADAL" clId="{351FE23D-61E3-4217-9757-ECF8C23312BF}" dt="2024-06-26T14:02:13.550" v="455" actId="164"/>
          <ac:spMkLst>
            <pc:docMk/>
            <pc:sldMk cId="2214180997" sldId="2147481982"/>
            <ac:spMk id="58" creationId="{1CA40E5F-52E1-906F-10FD-B58385773173}"/>
          </ac:spMkLst>
        </pc:spChg>
        <pc:spChg chg="mod">
          <ac:chgData name="Petro Petrashko (UA)" userId="5b2b3b98-3131-48c7-bb8a-19b196a36949" providerId="ADAL" clId="{351FE23D-61E3-4217-9757-ECF8C23312BF}" dt="2024-06-26T14:01:45.096" v="364" actId="552"/>
          <ac:spMkLst>
            <pc:docMk/>
            <pc:sldMk cId="2214180997" sldId="2147481982"/>
            <ac:spMk id="68" creationId="{DC58C25F-8110-0C29-4A50-5DADA78B621C}"/>
          </ac:spMkLst>
        </pc:spChg>
        <pc:spChg chg="mod topLvl">
          <ac:chgData name="Petro Petrashko (UA)" userId="5b2b3b98-3131-48c7-bb8a-19b196a36949" providerId="ADAL" clId="{351FE23D-61E3-4217-9757-ECF8C23312BF}" dt="2024-06-26T14:02:13.550" v="455" actId="164"/>
          <ac:spMkLst>
            <pc:docMk/>
            <pc:sldMk cId="2214180997" sldId="2147481982"/>
            <ac:spMk id="72" creationId="{2543AFCA-7DBC-4F76-9DA2-D2643AE45BA9}"/>
          </ac:spMkLst>
        </pc:spChg>
        <pc:spChg chg="mod topLvl">
          <ac:chgData name="Petro Petrashko (UA)" userId="5b2b3b98-3131-48c7-bb8a-19b196a36949" providerId="ADAL" clId="{351FE23D-61E3-4217-9757-ECF8C23312BF}" dt="2024-06-26T14:02:13.550" v="455" actId="164"/>
          <ac:spMkLst>
            <pc:docMk/>
            <pc:sldMk cId="2214180997" sldId="2147481982"/>
            <ac:spMk id="73" creationId="{C3973224-0FDE-AB92-CA48-254692E39197}"/>
          </ac:spMkLst>
        </pc:spChg>
        <pc:spChg chg="mod topLvl">
          <ac:chgData name="Petro Petrashko (UA)" userId="5b2b3b98-3131-48c7-bb8a-19b196a36949" providerId="ADAL" clId="{351FE23D-61E3-4217-9757-ECF8C23312BF}" dt="2024-06-26T14:02:13.550" v="455" actId="164"/>
          <ac:spMkLst>
            <pc:docMk/>
            <pc:sldMk cId="2214180997" sldId="2147481982"/>
            <ac:spMk id="79" creationId="{33E6C1AD-B972-C1DB-5544-0E474CB14E21}"/>
          </ac:spMkLst>
        </pc:spChg>
        <pc:spChg chg="mod topLvl">
          <ac:chgData name="Petro Petrashko (UA)" userId="5b2b3b98-3131-48c7-bb8a-19b196a36949" providerId="ADAL" clId="{351FE23D-61E3-4217-9757-ECF8C23312BF}" dt="2024-06-26T14:02:13.550" v="455" actId="164"/>
          <ac:spMkLst>
            <pc:docMk/>
            <pc:sldMk cId="2214180997" sldId="2147481982"/>
            <ac:spMk id="80" creationId="{19338F7A-E7EA-96BA-EA8F-E1DB08E2C178}"/>
          </ac:spMkLst>
        </pc:spChg>
        <pc:spChg chg="mod topLvl">
          <ac:chgData name="Petro Petrashko (UA)" userId="5b2b3b98-3131-48c7-bb8a-19b196a36949" providerId="ADAL" clId="{351FE23D-61E3-4217-9757-ECF8C23312BF}" dt="2024-06-26T14:02:13.550" v="455" actId="164"/>
          <ac:spMkLst>
            <pc:docMk/>
            <pc:sldMk cId="2214180997" sldId="2147481982"/>
            <ac:spMk id="83" creationId="{85C12B75-1D6E-881F-E30B-68674AFA8E56}"/>
          </ac:spMkLst>
        </pc:spChg>
        <pc:spChg chg="mod topLvl">
          <ac:chgData name="Petro Petrashko (UA)" userId="5b2b3b98-3131-48c7-bb8a-19b196a36949" providerId="ADAL" clId="{351FE23D-61E3-4217-9757-ECF8C23312BF}" dt="2024-06-26T14:02:13.550" v="455" actId="164"/>
          <ac:spMkLst>
            <pc:docMk/>
            <pc:sldMk cId="2214180997" sldId="2147481982"/>
            <ac:spMk id="84" creationId="{7F96781D-05E5-6540-1293-76F097AE987A}"/>
          </ac:spMkLst>
        </pc:spChg>
        <pc:spChg chg="mod topLvl">
          <ac:chgData name="Petro Petrashko (UA)" userId="5b2b3b98-3131-48c7-bb8a-19b196a36949" providerId="ADAL" clId="{351FE23D-61E3-4217-9757-ECF8C23312BF}" dt="2024-06-26T14:02:13.550" v="455" actId="164"/>
          <ac:spMkLst>
            <pc:docMk/>
            <pc:sldMk cId="2214180997" sldId="2147481982"/>
            <ac:spMk id="89" creationId="{7AD0F22C-299C-4471-6C33-C68875EFE67F}"/>
          </ac:spMkLst>
        </pc:spChg>
        <pc:spChg chg="mod topLvl">
          <ac:chgData name="Petro Petrashko (UA)" userId="5b2b3b98-3131-48c7-bb8a-19b196a36949" providerId="ADAL" clId="{351FE23D-61E3-4217-9757-ECF8C23312BF}" dt="2024-06-26T14:02:13.550" v="455" actId="164"/>
          <ac:spMkLst>
            <pc:docMk/>
            <pc:sldMk cId="2214180997" sldId="2147481982"/>
            <ac:spMk id="90" creationId="{0585702B-566A-3A03-DCD7-3B43A25AAD0D}"/>
          </ac:spMkLst>
        </pc:spChg>
        <pc:grpChg chg="add del mod">
          <ac:chgData name="Petro Petrashko (UA)" userId="5b2b3b98-3131-48c7-bb8a-19b196a36949" providerId="ADAL" clId="{351FE23D-61E3-4217-9757-ECF8C23312BF}" dt="2024-06-26T13:58:43.439" v="202" actId="478"/>
          <ac:grpSpMkLst>
            <pc:docMk/>
            <pc:sldMk cId="2214180997" sldId="2147481982"/>
            <ac:grpSpMk id="9" creationId="{30811BE7-E693-D1E1-D438-935CB9DB00E3}"/>
          </ac:grpSpMkLst>
        </pc:grpChg>
        <pc:grpChg chg="add del mod">
          <ac:chgData name="Petro Petrashko (UA)" userId="5b2b3b98-3131-48c7-bb8a-19b196a36949" providerId="ADAL" clId="{351FE23D-61E3-4217-9757-ECF8C23312BF}" dt="2024-06-26T13:59:22.611" v="214" actId="165"/>
          <ac:grpSpMkLst>
            <pc:docMk/>
            <pc:sldMk cId="2214180997" sldId="2147481982"/>
            <ac:grpSpMk id="12" creationId="{A8F92915-86F2-8C12-38E9-90CEA1D0DE2F}"/>
          </ac:grpSpMkLst>
        </pc:grpChg>
        <pc:grpChg chg="add del mod">
          <ac:chgData name="Petro Petrashko (UA)" userId="5b2b3b98-3131-48c7-bb8a-19b196a36949" providerId="ADAL" clId="{351FE23D-61E3-4217-9757-ECF8C23312BF}" dt="2024-06-26T13:59:22.611" v="214" actId="165"/>
          <ac:grpSpMkLst>
            <pc:docMk/>
            <pc:sldMk cId="2214180997" sldId="2147481982"/>
            <ac:grpSpMk id="13" creationId="{D127BE03-80D9-CC1C-3286-F5ABE4C91370}"/>
          </ac:grpSpMkLst>
        </pc:grpChg>
        <pc:grpChg chg="add del mod">
          <ac:chgData name="Petro Petrashko (UA)" userId="5b2b3b98-3131-48c7-bb8a-19b196a36949" providerId="ADAL" clId="{351FE23D-61E3-4217-9757-ECF8C23312BF}" dt="2024-06-26T13:59:22.611" v="214" actId="165"/>
          <ac:grpSpMkLst>
            <pc:docMk/>
            <pc:sldMk cId="2214180997" sldId="2147481982"/>
            <ac:grpSpMk id="14" creationId="{58163329-9745-C382-5D96-5E90F4F57AC3}"/>
          </ac:grpSpMkLst>
        </pc:grpChg>
        <pc:grpChg chg="add del mod">
          <ac:chgData name="Petro Petrashko (UA)" userId="5b2b3b98-3131-48c7-bb8a-19b196a36949" providerId="ADAL" clId="{351FE23D-61E3-4217-9757-ECF8C23312BF}" dt="2024-06-26T13:59:22.611" v="214" actId="165"/>
          <ac:grpSpMkLst>
            <pc:docMk/>
            <pc:sldMk cId="2214180997" sldId="2147481982"/>
            <ac:grpSpMk id="17" creationId="{ECFBA2CF-3BCF-1848-F9FD-84160E895450}"/>
          </ac:grpSpMkLst>
        </pc:grpChg>
        <pc:grpChg chg="add del mod">
          <ac:chgData name="Petro Petrashko (UA)" userId="5b2b3b98-3131-48c7-bb8a-19b196a36949" providerId="ADAL" clId="{351FE23D-61E3-4217-9757-ECF8C23312BF}" dt="2024-06-26T13:59:22.611" v="214" actId="165"/>
          <ac:grpSpMkLst>
            <pc:docMk/>
            <pc:sldMk cId="2214180997" sldId="2147481982"/>
            <ac:grpSpMk id="18" creationId="{14F50A45-828B-3E44-3E97-B20B4A86F1FC}"/>
          </ac:grpSpMkLst>
        </pc:grpChg>
        <pc:grpChg chg="add del mod">
          <ac:chgData name="Petro Petrashko (UA)" userId="5b2b3b98-3131-48c7-bb8a-19b196a36949" providerId="ADAL" clId="{351FE23D-61E3-4217-9757-ECF8C23312BF}" dt="2024-06-26T14:00:31.539" v="296" actId="165"/>
          <ac:grpSpMkLst>
            <pc:docMk/>
            <pc:sldMk cId="2214180997" sldId="2147481982"/>
            <ac:grpSpMk id="23" creationId="{22ECC5D3-A444-0265-DEFA-62CC0A83E04C}"/>
          </ac:grpSpMkLst>
        </pc:grpChg>
        <pc:grpChg chg="add del mod">
          <ac:chgData name="Petro Petrashko (UA)" userId="5b2b3b98-3131-48c7-bb8a-19b196a36949" providerId="ADAL" clId="{351FE23D-61E3-4217-9757-ECF8C23312BF}" dt="2024-06-26T14:00:31.539" v="296" actId="165"/>
          <ac:grpSpMkLst>
            <pc:docMk/>
            <pc:sldMk cId="2214180997" sldId="2147481982"/>
            <ac:grpSpMk id="24" creationId="{4AA7926B-16D0-412B-DC12-4D33C7E03E4F}"/>
          </ac:grpSpMkLst>
        </pc:grpChg>
        <pc:grpChg chg="add del mod">
          <ac:chgData name="Petro Petrashko (UA)" userId="5b2b3b98-3131-48c7-bb8a-19b196a36949" providerId="ADAL" clId="{351FE23D-61E3-4217-9757-ECF8C23312BF}" dt="2024-06-26T14:00:31.539" v="296" actId="165"/>
          <ac:grpSpMkLst>
            <pc:docMk/>
            <pc:sldMk cId="2214180997" sldId="2147481982"/>
            <ac:grpSpMk id="25" creationId="{0B0673D7-D08C-7B91-4AD0-2ED8FB3BCD49}"/>
          </ac:grpSpMkLst>
        </pc:grpChg>
        <pc:grpChg chg="add del mod">
          <ac:chgData name="Petro Petrashko (UA)" userId="5b2b3b98-3131-48c7-bb8a-19b196a36949" providerId="ADAL" clId="{351FE23D-61E3-4217-9757-ECF8C23312BF}" dt="2024-06-26T14:00:31.539" v="296" actId="165"/>
          <ac:grpSpMkLst>
            <pc:docMk/>
            <pc:sldMk cId="2214180997" sldId="2147481982"/>
            <ac:grpSpMk id="26" creationId="{59D15843-9151-AC60-9BEB-9D74ECC4099E}"/>
          </ac:grpSpMkLst>
        </pc:grpChg>
        <pc:grpChg chg="add del mod">
          <ac:chgData name="Petro Petrashko (UA)" userId="5b2b3b98-3131-48c7-bb8a-19b196a36949" providerId="ADAL" clId="{351FE23D-61E3-4217-9757-ECF8C23312BF}" dt="2024-06-26T14:00:31.539" v="296" actId="165"/>
          <ac:grpSpMkLst>
            <pc:docMk/>
            <pc:sldMk cId="2214180997" sldId="2147481982"/>
            <ac:grpSpMk id="27" creationId="{CB16E537-B37A-197D-5E80-3CEE24FF9DEF}"/>
          </ac:grpSpMkLst>
        </pc:grpChg>
        <pc:grpChg chg="add del mod">
          <ac:chgData name="Petro Petrashko (UA)" userId="5b2b3b98-3131-48c7-bb8a-19b196a36949" providerId="ADAL" clId="{351FE23D-61E3-4217-9757-ECF8C23312BF}" dt="2024-06-26T14:01:48.266" v="403" actId="478"/>
          <ac:grpSpMkLst>
            <pc:docMk/>
            <pc:sldMk cId="2214180997" sldId="2147481982"/>
            <ac:grpSpMk id="30" creationId="{ACA7CD60-32C2-9EDB-838D-FA4A1D7B9198}"/>
          </ac:grpSpMkLst>
        </pc:grpChg>
        <pc:grpChg chg="add del mod">
          <ac:chgData name="Petro Petrashko (UA)" userId="5b2b3b98-3131-48c7-bb8a-19b196a36949" providerId="ADAL" clId="{351FE23D-61E3-4217-9757-ECF8C23312BF}" dt="2024-06-26T14:02:04.078" v="450" actId="165"/>
          <ac:grpSpMkLst>
            <pc:docMk/>
            <pc:sldMk cId="2214180997" sldId="2147481982"/>
            <ac:grpSpMk id="33" creationId="{88FAF225-73A7-5DA6-F747-4D1D127E2026}"/>
          </ac:grpSpMkLst>
        </pc:grpChg>
        <pc:grpChg chg="add del mod">
          <ac:chgData name="Petro Petrashko (UA)" userId="5b2b3b98-3131-48c7-bb8a-19b196a36949" providerId="ADAL" clId="{351FE23D-61E3-4217-9757-ECF8C23312BF}" dt="2024-06-26T14:02:18" v="457" actId="478"/>
          <ac:grpSpMkLst>
            <pc:docMk/>
            <pc:sldMk cId="2214180997" sldId="2147481982"/>
            <ac:grpSpMk id="35" creationId="{45F501CD-512F-9925-57B3-5B843D23CE58}"/>
          </ac:grpSpMkLst>
        </pc:grpChg>
        <pc:grpChg chg="add mod">
          <ac:chgData name="Petro Petrashko (UA)" userId="5b2b3b98-3131-48c7-bb8a-19b196a36949" providerId="ADAL" clId="{351FE23D-61E3-4217-9757-ECF8C23312BF}" dt="2024-06-26T14:10:28.320" v="639" actId="552"/>
          <ac:grpSpMkLst>
            <pc:docMk/>
            <pc:sldMk cId="2214180997" sldId="2147481982"/>
            <ac:grpSpMk id="38" creationId="{219BBEA8-5E3D-C2C1-202B-E065631AC45E}"/>
          </ac:grpSpMkLst>
        </pc:grpChg>
        <pc:graphicFrameChg chg="add mod ord modVis replST">
          <ac:chgData name="Petro Petrashko (UA)" userId="5b2b3b98-3131-48c7-bb8a-19b196a36949" providerId="ADAL" clId="{351FE23D-61E3-4217-9757-ECF8C23312BF}" dt="2024-06-26T14:10:28.907" v="677"/>
          <ac:graphicFrameMkLst>
            <pc:docMk/>
            <pc:sldMk cId="2214180997" sldId="2147481982"/>
            <ac:graphicFrameMk id="22" creationId="{B68EC639-039F-DB4E-37B0-99BED0A5766C}"/>
          </ac:graphicFrameMkLst>
        </pc:graphicFrameChg>
        <pc:cxnChg chg="mod">
          <ac:chgData name="Petro Petrashko (UA)" userId="5b2b3b98-3131-48c7-bb8a-19b196a36949" providerId="ADAL" clId="{351FE23D-61E3-4217-9757-ECF8C23312BF}" dt="2024-06-26T13:59:01.882" v="207" actId="465"/>
          <ac:cxnSpMkLst>
            <pc:docMk/>
            <pc:sldMk cId="2214180997" sldId="2147481982"/>
            <ac:cxnSpMk id="6" creationId="{AA7A7FA2-43EB-E10E-9DB9-8125FF1E58FC}"/>
          </ac:cxnSpMkLst>
        </pc:cxnChg>
        <pc:cxnChg chg="mod">
          <ac:chgData name="Petro Petrashko (UA)" userId="5b2b3b98-3131-48c7-bb8a-19b196a36949" providerId="ADAL" clId="{351FE23D-61E3-4217-9757-ECF8C23312BF}" dt="2024-06-26T13:59:01.882" v="207" actId="465"/>
          <ac:cxnSpMkLst>
            <pc:docMk/>
            <pc:sldMk cId="2214180997" sldId="2147481982"/>
            <ac:cxnSpMk id="15" creationId="{60508230-2256-BEAC-3F1B-1FBD12640BF7}"/>
          </ac:cxnSpMkLst>
        </pc:cxnChg>
        <pc:cxnChg chg="mod">
          <ac:chgData name="Petro Petrashko (UA)" userId="5b2b3b98-3131-48c7-bb8a-19b196a36949" providerId="ADAL" clId="{351FE23D-61E3-4217-9757-ECF8C23312BF}" dt="2024-06-26T13:59:01.882" v="207" actId="465"/>
          <ac:cxnSpMkLst>
            <pc:docMk/>
            <pc:sldMk cId="2214180997" sldId="2147481982"/>
            <ac:cxnSpMk id="16" creationId="{1E7CC1BC-C16B-82D6-0EA2-3A181E8600F1}"/>
          </ac:cxnSpMkLst>
        </pc:cxnChg>
        <pc:cxnChg chg="mod">
          <ac:chgData name="Petro Petrashko (UA)" userId="5b2b3b98-3131-48c7-bb8a-19b196a36949" providerId="ADAL" clId="{351FE23D-61E3-4217-9757-ECF8C23312BF}" dt="2024-06-26T13:59:01.882" v="207" actId="465"/>
          <ac:cxnSpMkLst>
            <pc:docMk/>
            <pc:sldMk cId="2214180997" sldId="2147481982"/>
            <ac:cxnSpMk id="59" creationId="{7E500747-C848-E521-FDAE-12CD91281C7E}"/>
          </ac:cxnSpMkLst>
        </pc:cxnChg>
      </pc:sldChg>
      <pc:sldChg chg="addSp delSp modSp mod">
        <pc:chgData name="Petro Petrashko (UA)" userId="5b2b3b98-3131-48c7-bb8a-19b196a36949" providerId="ADAL" clId="{351FE23D-61E3-4217-9757-ECF8C23312BF}" dt="2024-06-26T14:10:06.009" v="588"/>
        <pc:sldMkLst>
          <pc:docMk/>
          <pc:sldMk cId="820934104" sldId="2147481983"/>
        </pc:sldMkLst>
        <pc:spChg chg="mod">
          <ac:chgData name="Petro Petrashko (UA)" userId="5b2b3b98-3131-48c7-bb8a-19b196a36949" providerId="ADAL" clId="{351FE23D-61E3-4217-9757-ECF8C23312BF}" dt="2024-06-26T14:10:05.850" v="550" actId="948"/>
          <ac:spMkLst>
            <pc:docMk/>
            <pc:sldMk cId="820934104" sldId="2147481983"/>
            <ac:spMk id="2" creationId="{EC47296D-9568-ED7D-0457-80174E2BF2F8}"/>
          </ac:spMkLst>
        </pc:spChg>
        <pc:spChg chg="add del mod modVis">
          <ac:chgData name="Petro Petrashko (UA)" userId="5b2b3b98-3131-48c7-bb8a-19b196a36949" providerId="ADAL" clId="{351FE23D-61E3-4217-9757-ECF8C23312BF}" dt="2024-06-26T14:10:05.968" v="573"/>
          <ac:spMkLst>
            <pc:docMk/>
            <pc:sldMk cId="820934104" sldId="2147481983"/>
            <ac:spMk id="11" creationId="{D4CEFADD-0C39-E173-5A83-10686CDCA8C3}"/>
          </ac:spMkLst>
        </pc:spChg>
        <pc:spChg chg="mod">
          <ac:chgData name="Petro Petrashko (UA)" userId="5b2b3b98-3131-48c7-bb8a-19b196a36949" providerId="ADAL" clId="{351FE23D-61E3-4217-9757-ECF8C23312BF}" dt="2024-06-26T14:10:03.178" v="548" actId="164"/>
          <ac:spMkLst>
            <pc:docMk/>
            <pc:sldMk cId="820934104" sldId="2147481983"/>
            <ac:spMk id="57" creationId="{A073C5EE-5299-ADD0-94D7-3170276FA166}"/>
          </ac:spMkLst>
        </pc:spChg>
        <pc:spChg chg="mod">
          <ac:chgData name="Petro Petrashko (UA)" userId="5b2b3b98-3131-48c7-bb8a-19b196a36949" providerId="ADAL" clId="{351FE23D-61E3-4217-9757-ECF8C23312BF}" dt="2024-06-26T14:10:03.178" v="548" actId="164"/>
          <ac:spMkLst>
            <pc:docMk/>
            <pc:sldMk cId="820934104" sldId="2147481983"/>
            <ac:spMk id="58" creationId="{1CA40E5F-52E1-906F-10FD-B58385773173}"/>
          </ac:spMkLst>
        </pc:spChg>
        <pc:spChg chg="mod">
          <ac:chgData name="Petro Petrashko (UA)" userId="5b2b3b98-3131-48c7-bb8a-19b196a36949" providerId="ADAL" clId="{351FE23D-61E3-4217-9757-ECF8C23312BF}" dt="2024-06-26T14:10:03.178" v="548" actId="164"/>
          <ac:spMkLst>
            <pc:docMk/>
            <pc:sldMk cId="820934104" sldId="2147481983"/>
            <ac:spMk id="72" creationId="{2543AFCA-7DBC-4F76-9DA2-D2643AE45BA9}"/>
          </ac:spMkLst>
        </pc:spChg>
        <pc:spChg chg="mod">
          <ac:chgData name="Petro Petrashko (UA)" userId="5b2b3b98-3131-48c7-bb8a-19b196a36949" providerId="ADAL" clId="{351FE23D-61E3-4217-9757-ECF8C23312BF}" dt="2024-06-26T14:10:03.178" v="548" actId="164"/>
          <ac:spMkLst>
            <pc:docMk/>
            <pc:sldMk cId="820934104" sldId="2147481983"/>
            <ac:spMk id="73" creationId="{C3973224-0FDE-AB92-CA48-254692E39197}"/>
          </ac:spMkLst>
        </pc:spChg>
        <pc:spChg chg="mod">
          <ac:chgData name="Petro Petrashko (UA)" userId="5b2b3b98-3131-48c7-bb8a-19b196a36949" providerId="ADAL" clId="{351FE23D-61E3-4217-9757-ECF8C23312BF}" dt="2024-06-26T14:10:03.178" v="548" actId="164"/>
          <ac:spMkLst>
            <pc:docMk/>
            <pc:sldMk cId="820934104" sldId="2147481983"/>
            <ac:spMk id="79" creationId="{33E6C1AD-B972-C1DB-5544-0E474CB14E21}"/>
          </ac:spMkLst>
        </pc:spChg>
        <pc:spChg chg="mod">
          <ac:chgData name="Petro Petrashko (UA)" userId="5b2b3b98-3131-48c7-bb8a-19b196a36949" providerId="ADAL" clId="{351FE23D-61E3-4217-9757-ECF8C23312BF}" dt="2024-06-26T14:10:03.178" v="548" actId="164"/>
          <ac:spMkLst>
            <pc:docMk/>
            <pc:sldMk cId="820934104" sldId="2147481983"/>
            <ac:spMk id="80" creationId="{19338F7A-E7EA-96BA-EA8F-E1DB08E2C178}"/>
          </ac:spMkLst>
        </pc:spChg>
        <pc:spChg chg="mod">
          <ac:chgData name="Petro Petrashko (UA)" userId="5b2b3b98-3131-48c7-bb8a-19b196a36949" providerId="ADAL" clId="{351FE23D-61E3-4217-9757-ECF8C23312BF}" dt="2024-06-26T14:10:03.178" v="548" actId="164"/>
          <ac:spMkLst>
            <pc:docMk/>
            <pc:sldMk cId="820934104" sldId="2147481983"/>
            <ac:spMk id="83" creationId="{85C12B75-1D6E-881F-E30B-68674AFA8E56}"/>
          </ac:spMkLst>
        </pc:spChg>
        <pc:spChg chg="mod">
          <ac:chgData name="Petro Petrashko (UA)" userId="5b2b3b98-3131-48c7-bb8a-19b196a36949" providerId="ADAL" clId="{351FE23D-61E3-4217-9757-ECF8C23312BF}" dt="2024-06-26T14:10:03.178" v="548" actId="164"/>
          <ac:spMkLst>
            <pc:docMk/>
            <pc:sldMk cId="820934104" sldId="2147481983"/>
            <ac:spMk id="84" creationId="{7F96781D-05E5-6540-1293-76F097AE987A}"/>
          </ac:spMkLst>
        </pc:spChg>
        <pc:spChg chg="mod">
          <ac:chgData name="Petro Petrashko (UA)" userId="5b2b3b98-3131-48c7-bb8a-19b196a36949" providerId="ADAL" clId="{351FE23D-61E3-4217-9757-ECF8C23312BF}" dt="2024-06-26T14:10:03.178" v="548" actId="164"/>
          <ac:spMkLst>
            <pc:docMk/>
            <pc:sldMk cId="820934104" sldId="2147481983"/>
            <ac:spMk id="89" creationId="{7AD0F22C-299C-4471-6C33-C68875EFE67F}"/>
          </ac:spMkLst>
        </pc:spChg>
        <pc:spChg chg="mod">
          <ac:chgData name="Petro Petrashko (UA)" userId="5b2b3b98-3131-48c7-bb8a-19b196a36949" providerId="ADAL" clId="{351FE23D-61E3-4217-9757-ECF8C23312BF}" dt="2024-06-26T14:10:03.178" v="548" actId="164"/>
          <ac:spMkLst>
            <pc:docMk/>
            <pc:sldMk cId="820934104" sldId="2147481983"/>
            <ac:spMk id="90" creationId="{0585702B-566A-3A03-DCD7-3B43A25AAD0D}"/>
          </ac:spMkLst>
        </pc:spChg>
        <pc:grpChg chg="add mod">
          <ac:chgData name="Petro Petrashko (UA)" userId="5b2b3b98-3131-48c7-bb8a-19b196a36949" providerId="ADAL" clId="{351FE23D-61E3-4217-9757-ECF8C23312BF}" dt="2024-06-26T14:10:05.162" v="549" actId="552"/>
          <ac:grpSpMkLst>
            <pc:docMk/>
            <pc:sldMk cId="820934104" sldId="2147481983"/>
            <ac:grpSpMk id="10" creationId="{3D9F3007-5FB1-2326-9A43-7836A0DC65D7}"/>
          </ac:grpSpMkLst>
        </pc:grpChg>
        <pc:graphicFrameChg chg="add mod ord modVis replST">
          <ac:chgData name="Petro Petrashko (UA)" userId="5b2b3b98-3131-48c7-bb8a-19b196a36949" providerId="ADAL" clId="{351FE23D-61E3-4217-9757-ECF8C23312BF}" dt="2024-06-26T14:10:06.009" v="588"/>
          <ac:graphicFrameMkLst>
            <pc:docMk/>
            <pc:sldMk cId="820934104" sldId="2147481983"/>
            <ac:graphicFrameMk id="23" creationId="{3748B94F-D3E5-14F9-55EC-1C4429A63C69}"/>
          </ac:graphicFrameMkLst>
        </pc:graphicFrameChg>
      </pc:sldChg>
      <pc:sldChg chg="addSp delSp modSp mod">
        <pc:chgData name="Petro Petrashko (UA)" userId="5b2b3b98-3131-48c7-bb8a-19b196a36949" providerId="ADAL" clId="{351FE23D-61E3-4217-9757-ECF8C23312BF}" dt="2024-06-26T14:11:43.675" v="998"/>
        <pc:sldMkLst>
          <pc:docMk/>
          <pc:sldMk cId="28118731" sldId="2147481984"/>
        </pc:sldMkLst>
        <pc:spChg chg="mod">
          <ac:chgData name="Petro Petrashko (UA)" userId="5b2b3b98-3131-48c7-bb8a-19b196a36949" providerId="ADAL" clId="{351FE23D-61E3-4217-9757-ECF8C23312BF}" dt="2024-06-26T14:11:43.580" v="960" actId="948"/>
          <ac:spMkLst>
            <pc:docMk/>
            <pc:sldMk cId="28118731" sldId="2147481984"/>
            <ac:spMk id="2" creationId="{EC47296D-9568-ED7D-0457-80174E2BF2F8}"/>
          </ac:spMkLst>
        </pc:spChg>
        <pc:spChg chg="mod">
          <ac:chgData name="Petro Petrashko (UA)" userId="5b2b3b98-3131-48c7-bb8a-19b196a36949" providerId="ADAL" clId="{351FE23D-61E3-4217-9757-ECF8C23312BF}" dt="2024-06-26T14:06:05.943" v="521"/>
          <ac:spMkLst>
            <pc:docMk/>
            <pc:sldMk cId="28118731" sldId="2147481984"/>
            <ac:spMk id="11" creationId="{2F668725-21FE-4B89-C3F4-E8A37F300912}"/>
          </ac:spMkLst>
        </pc:spChg>
        <pc:spChg chg="mod">
          <ac:chgData name="Petro Petrashko (UA)" userId="5b2b3b98-3131-48c7-bb8a-19b196a36949" providerId="ADAL" clId="{351FE23D-61E3-4217-9757-ECF8C23312BF}" dt="2024-06-26T14:06:51.490" v="535" actId="164"/>
          <ac:spMkLst>
            <pc:docMk/>
            <pc:sldMk cId="28118731" sldId="2147481984"/>
            <ac:spMk id="14" creationId="{69CFE8AA-8BE2-A62E-A1B9-8B4AE9C53218}"/>
          </ac:spMkLst>
        </pc:spChg>
        <pc:spChg chg="mod">
          <ac:chgData name="Petro Petrashko (UA)" userId="5b2b3b98-3131-48c7-bb8a-19b196a36949" providerId="ADAL" clId="{351FE23D-61E3-4217-9757-ECF8C23312BF}" dt="2024-06-26T14:06:45.259" v="533" actId="164"/>
          <ac:spMkLst>
            <pc:docMk/>
            <pc:sldMk cId="28118731" sldId="2147481984"/>
            <ac:spMk id="17" creationId="{F910971B-2255-41F9-8303-8F4AF0AD11A8}"/>
          </ac:spMkLst>
        </pc:spChg>
        <pc:spChg chg="mod">
          <ac:chgData name="Petro Petrashko (UA)" userId="5b2b3b98-3131-48c7-bb8a-19b196a36949" providerId="ADAL" clId="{351FE23D-61E3-4217-9757-ECF8C23312BF}" dt="2024-06-26T14:06:51.490" v="535" actId="164"/>
          <ac:spMkLst>
            <pc:docMk/>
            <pc:sldMk cId="28118731" sldId="2147481984"/>
            <ac:spMk id="18" creationId="{B8EA7805-296B-5D47-944C-D538156BAD89}"/>
          </ac:spMkLst>
        </pc:spChg>
        <pc:spChg chg="mod">
          <ac:chgData name="Petro Petrashko (UA)" userId="5b2b3b98-3131-48c7-bb8a-19b196a36949" providerId="ADAL" clId="{351FE23D-61E3-4217-9757-ECF8C23312BF}" dt="2024-06-26T14:06:51.490" v="535" actId="164"/>
          <ac:spMkLst>
            <pc:docMk/>
            <pc:sldMk cId="28118731" sldId="2147481984"/>
            <ac:spMk id="19" creationId="{C0C5A184-30D0-DA46-BFBE-D02A00834DD6}"/>
          </ac:spMkLst>
        </pc:spChg>
        <pc:spChg chg="mod topLvl">
          <ac:chgData name="Petro Petrashko (UA)" userId="5b2b3b98-3131-48c7-bb8a-19b196a36949" providerId="ADAL" clId="{351FE23D-61E3-4217-9757-ECF8C23312BF}" dt="2024-06-26T14:11:38.610" v="956" actId="165"/>
          <ac:spMkLst>
            <pc:docMk/>
            <pc:sldMk cId="28118731" sldId="2147481984"/>
            <ac:spMk id="20" creationId="{A4EAD244-3E35-CF16-9610-C9DD5B3A3D07}"/>
          </ac:spMkLst>
        </pc:spChg>
        <pc:spChg chg="mod">
          <ac:chgData name="Petro Petrashko (UA)" userId="5b2b3b98-3131-48c7-bb8a-19b196a36949" providerId="ADAL" clId="{351FE23D-61E3-4217-9757-ECF8C23312BF}" dt="2024-06-26T14:06:45.259" v="533" actId="164"/>
          <ac:spMkLst>
            <pc:docMk/>
            <pc:sldMk cId="28118731" sldId="2147481984"/>
            <ac:spMk id="21" creationId="{B3BACB13-7F5F-7706-5C2F-1B17B9E4C0A1}"/>
          </ac:spMkLst>
        </pc:spChg>
        <pc:spChg chg="mod">
          <ac:chgData name="Petro Petrashko (UA)" userId="5b2b3b98-3131-48c7-bb8a-19b196a36949" providerId="ADAL" clId="{351FE23D-61E3-4217-9757-ECF8C23312BF}" dt="2024-06-26T14:06:45.259" v="533" actId="164"/>
          <ac:spMkLst>
            <pc:docMk/>
            <pc:sldMk cId="28118731" sldId="2147481984"/>
            <ac:spMk id="22" creationId="{23636E8D-78E7-BF51-1737-96A4E2EF4240}"/>
          </ac:spMkLst>
        </pc:spChg>
        <pc:spChg chg="mod">
          <ac:chgData name="Petro Petrashko (UA)" userId="5b2b3b98-3131-48c7-bb8a-19b196a36949" providerId="ADAL" clId="{351FE23D-61E3-4217-9757-ECF8C23312BF}" dt="2024-06-26T14:06:05.943" v="521"/>
          <ac:spMkLst>
            <pc:docMk/>
            <pc:sldMk cId="28118731" sldId="2147481984"/>
            <ac:spMk id="24" creationId="{1E80BE0C-E0EF-D30F-5F20-7331E371B407}"/>
          </ac:spMkLst>
        </pc:spChg>
        <pc:spChg chg="mod topLvl">
          <ac:chgData name="Petro Petrashko (UA)" userId="5b2b3b98-3131-48c7-bb8a-19b196a36949" providerId="ADAL" clId="{351FE23D-61E3-4217-9757-ECF8C23312BF}" dt="2024-06-26T14:11:38.610" v="956" actId="165"/>
          <ac:spMkLst>
            <pc:docMk/>
            <pc:sldMk cId="28118731" sldId="2147481984"/>
            <ac:spMk id="40" creationId="{0397F1B3-1DAC-781B-5BE5-08FA024DC19C}"/>
          </ac:spMkLst>
        </pc:spChg>
        <pc:spChg chg="mod topLvl">
          <ac:chgData name="Petro Petrashko (UA)" userId="5b2b3b98-3131-48c7-bb8a-19b196a36949" providerId="ADAL" clId="{351FE23D-61E3-4217-9757-ECF8C23312BF}" dt="2024-06-26T14:11:38.610" v="956" actId="165"/>
          <ac:spMkLst>
            <pc:docMk/>
            <pc:sldMk cId="28118731" sldId="2147481984"/>
            <ac:spMk id="41" creationId="{66A14158-E11A-E312-8696-ADD9D0E04629}"/>
          </ac:spMkLst>
        </pc:spChg>
        <pc:spChg chg="mod topLvl">
          <ac:chgData name="Petro Petrashko (UA)" userId="5b2b3b98-3131-48c7-bb8a-19b196a36949" providerId="ADAL" clId="{351FE23D-61E3-4217-9757-ECF8C23312BF}" dt="2024-06-26T14:11:38.610" v="956" actId="165"/>
          <ac:spMkLst>
            <pc:docMk/>
            <pc:sldMk cId="28118731" sldId="2147481984"/>
            <ac:spMk id="42" creationId="{986F6EBD-76CF-AA8A-DC11-0900DE8A8EB0}"/>
          </ac:spMkLst>
        </pc:spChg>
        <pc:spChg chg="add del mod modVis">
          <ac:chgData name="Petro Petrashko (UA)" userId="5b2b3b98-3131-48c7-bb8a-19b196a36949" providerId="ADAL" clId="{351FE23D-61E3-4217-9757-ECF8C23312BF}" dt="2024-06-26T14:11:43.614" v="983"/>
          <ac:spMkLst>
            <pc:docMk/>
            <pc:sldMk cId="28118731" sldId="2147481984"/>
            <ac:spMk id="47" creationId="{214A38F4-1E8D-AFBB-8014-F85799F9B669}"/>
          </ac:spMkLst>
        </pc:spChg>
        <pc:spChg chg="mod topLvl">
          <ac:chgData name="Petro Petrashko (UA)" userId="5b2b3b98-3131-48c7-bb8a-19b196a36949" providerId="ADAL" clId="{351FE23D-61E3-4217-9757-ECF8C23312BF}" dt="2024-06-26T14:11:38.610" v="956" actId="165"/>
          <ac:spMkLst>
            <pc:docMk/>
            <pc:sldMk cId="28118731" sldId="2147481984"/>
            <ac:spMk id="52" creationId="{54140961-D367-FFB1-E0FC-3F385487D472}"/>
          </ac:spMkLst>
        </pc:spChg>
        <pc:spChg chg="mod topLvl">
          <ac:chgData name="Petro Petrashko (UA)" userId="5b2b3b98-3131-48c7-bb8a-19b196a36949" providerId="ADAL" clId="{351FE23D-61E3-4217-9757-ECF8C23312BF}" dt="2024-06-26T14:11:40.787" v="957" actId="164"/>
          <ac:spMkLst>
            <pc:docMk/>
            <pc:sldMk cId="28118731" sldId="2147481984"/>
            <ac:spMk id="57" creationId="{A073C5EE-5299-ADD0-94D7-3170276FA166}"/>
          </ac:spMkLst>
        </pc:spChg>
        <pc:spChg chg="mod topLvl">
          <ac:chgData name="Petro Petrashko (UA)" userId="5b2b3b98-3131-48c7-bb8a-19b196a36949" providerId="ADAL" clId="{351FE23D-61E3-4217-9757-ECF8C23312BF}" dt="2024-06-26T14:11:40.787" v="957" actId="164"/>
          <ac:spMkLst>
            <pc:docMk/>
            <pc:sldMk cId="28118731" sldId="2147481984"/>
            <ac:spMk id="58" creationId="{1CA40E5F-52E1-906F-10FD-B58385773173}"/>
          </ac:spMkLst>
        </pc:spChg>
        <pc:spChg chg="mod">
          <ac:chgData name="Petro Petrashko (UA)" userId="5b2b3b98-3131-48c7-bb8a-19b196a36949" providerId="ADAL" clId="{351FE23D-61E3-4217-9757-ECF8C23312BF}" dt="2024-06-26T14:06:53.536" v="536" actId="164"/>
          <ac:spMkLst>
            <pc:docMk/>
            <pc:sldMk cId="28118731" sldId="2147481984"/>
            <ac:spMk id="66" creationId="{F013B6EF-6664-55FA-8A95-9B25B931D676}"/>
          </ac:spMkLst>
        </pc:spChg>
        <pc:spChg chg="mod topLvl">
          <ac:chgData name="Petro Petrashko (UA)" userId="5b2b3b98-3131-48c7-bb8a-19b196a36949" providerId="ADAL" clId="{351FE23D-61E3-4217-9757-ECF8C23312BF}" dt="2024-06-26T14:11:40.787" v="957" actId="164"/>
          <ac:spMkLst>
            <pc:docMk/>
            <pc:sldMk cId="28118731" sldId="2147481984"/>
            <ac:spMk id="72" creationId="{2543AFCA-7DBC-4F76-9DA2-D2643AE45BA9}"/>
          </ac:spMkLst>
        </pc:spChg>
        <pc:spChg chg="mod topLvl">
          <ac:chgData name="Petro Petrashko (UA)" userId="5b2b3b98-3131-48c7-bb8a-19b196a36949" providerId="ADAL" clId="{351FE23D-61E3-4217-9757-ECF8C23312BF}" dt="2024-06-26T14:11:40.787" v="957" actId="164"/>
          <ac:spMkLst>
            <pc:docMk/>
            <pc:sldMk cId="28118731" sldId="2147481984"/>
            <ac:spMk id="73" creationId="{C3973224-0FDE-AB92-CA48-254692E39197}"/>
          </ac:spMkLst>
        </pc:spChg>
        <pc:spChg chg="mod topLvl">
          <ac:chgData name="Petro Petrashko (UA)" userId="5b2b3b98-3131-48c7-bb8a-19b196a36949" providerId="ADAL" clId="{351FE23D-61E3-4217-9757-ECF8C23312BF}" dt="2024-06-26T14:11:40.787" v="957" actId="164"/>
          <ac:spMkLst>
            <pc:docMk/>
            <pc:sldMk cId="28118731" sldId="2147481984"/>
            <ac:spMk id="79" creationId="{33E6C1AD-B972-C1DB-5544-0E474CB14E21}"/>
          </ac:spMkLst>
        </pc:spChg>
        <pc:spChg chg="mod topLvl">
          <ac:chgData name="Petro Petrashko (UA)" userId="5b2b3b98-3131-48c7-bb8a-19b196a36949" providerId="ADAL" clId="{351FE23D-61E3-4217-9757-ECF8C23312BF}" dt="2024-06-26T14:11:40.787" v="957" actId="164"/>
          <ac:spMkLst>
            <pc:docMk/>
            <pc:sldMk cId="28118731" sldId="2147481984"/>
            <ac:spMk id="80" creationId="{19338F7A-E7EA-96BA-EA8F-E1DB08E2C178}"/>
          </ac:spMkLst>
        </pc:spChg>
        <pc:spChg chg="mod topLvl">
          <ac:chgData name="Petro Petrashko (UA)" userId="5b2b3b98-3131-48c7-bb8a-19b196a36949" providerId="ADAL" clId="{351FE23D-61E3-4217-9757-ECF8C23312BF}" dt="2024-06-26T14:11:40.787" v="957" actId="164"/>
          <ac:spMkLst>
            <pc:docMk/>
            <pc:sldMk cId="28118731" sldId="2147481984"/>
            <ac:spMk id="83" creationId="{85C12B75-1D6E-881F-E30B-68674AFA8E56}"/>
          </ac:spMkLst>
        </pc:spChg>
        <pc:spChg chg="mod topLvl">
          <ac:chgData name="Petro Petrashko (UA)" userId="5b2b3b98-3131-48c7-bb8a-19b196a36949" providerId="ADAL" clId="{351FE23D-61E3-4217-9757-ECF8C23312BF}" dt="2024-06-26T14:11:40.787" v="957" actId="164"/>
          <ac:spMkLst>
            <pc:docMk/>
            <pc:sldMk cId="28118731" sldId="2147481984"/>
            <ac:spMk id="84" creationId="{7F96781D-05E5-6540-1293-76F097AE987A}"/>
          </ac:spMkLst>
        </pc:spChg>
        <pc:spChg chg="mod topLvl">
          <ac:chgData name="Petro Petrashko (UA)" userId="5b2b3b98-3131-48c7-bb8a-19b196a36949" providerId="ADAL" clId="{351FE23D-61E3-4217-9757-ECF8C23312BF}" dt="2024-06-26T14:11:40.787" v="957" actId="164"/>
          <ac:spMkLst>
            <pc:docMk/>
            <pc:sldMk cId="28118731" sldId="2147481984"/>
            <ac:spMk id="89" creationId="{7AD0F22C-299C-4471-6C33-C68875EFE67F}"/>
          </ac:spMkLst>
        </pc:spChg>
        <pc:spChg chg="mod topLvl">
          <ac:chgData name="Petro Petrashko (UA)" userId="5b2b3b98-3131-48c7-bb8a-19b196a36949" providerId="ADAL" clId="{351FE23D-61E3-4217-9757-ECF8C23312BF}" dt="2024-06-26T14:11:40.787" v="957" actId="164"/>
          <ac:spMkLst>
            <pc:docMk/>
            <pc:sldMk cId="28118731" sldId="2147481984"/>
            <ac:spMk id="90" creationId="{0585702B-566A-3A03-DCD7-3B43A25AAD0D}"/>
          </ac:spMkLst>
        </pc:spChg>
        <pc:spChg chg="mod">
          <ac:chgData name="Petro Petrashko (UA)" userId="5b2b3b98-3131-48c7-bb8a-19b196a36949" providerId="ADAL" clId="{351FE23D-61E3-4217-9757-ECF8C23312BF}" dt="2024-06-26T14:06:53.536" v="536" actId="164"/>
          <ac:spMkLst>
            <pc:docMk/>
            <pc:sldMk cId="28118731" sldId="2147481984"/>
            <ac:spMk id="95" creationId="{443FAA3C-0F7C-AD6B-CBF1-68825DEE28EF}"/>
          </ac:spMkLst>
        </pc:spChg>
        <pc:spChg chg="mod">
          <ac:chgData name="Petro Petrashko (UA)" userId="5b2b3b98-3131-48c7-bb8a-19b196a36949" providerId="ADAL" clId="{351FE23D-61E3-4217-9757-ECF8C23312BF}" dt="2024-06-26T14:06:53.536" v="536" actId="164"/>
          <ac:spMkLst>
            <pc:docMk/>
            <pc:sldMk cId="28118731" sldId="2147481984"/>
            <ac:spMk id="96" creationId="{F8E7CD43-EB84-01FE-1CF1-D4FC0D81A442}"/>
          </ac:spMkLst>
        </pc:spChg>
        <pc:grpChg chg="add del mod">
          <ac:chgData name="Petro Petrashko (UA)" userId="5b2b3b98-3131-48c7-bb8a-19b196a36949" providerId="ADAL" clId="{351FE23D-61E3-4217-9757-ECF8C23312BF}" dt="2024-06-26T14:06:12.629" v="524" actId="478"/>
          <ac:grpSpMkLst>
            <pc:docMk/>
            <pc:sldMk cId="28118731" sldId="2147481984"/>
            <ac:grpSpMk id="10" creationId="{AC9E20B9-053B-EB12-3F0F-0387A6E28C50}"/>
          </ac:grpSpMkLst>
        </pc:grpChg>
        <pc:grpChg chg="add del mod">
          <ac:chgData name="Petro Petrashko (UA)" userId="5b2b3b98-3131-48c7-bb8a-19b196a36949" providerId="ADAL" clId="{351FE23D-61E3-4217-9757-ECF8C23312BF}" dt="2024-06-26T14:06:14.991" v="525" actId="165"/>
          <ac:grpSpMkLst>
            <pc:docMk/>
            <pc:sldMk cId="28118731" sldId="2147481984"/>
            <ac:grpSpMk id="26" creationId="{2AF20598-5DA3-47FC-064C-A2EF5E169E6C}"/>
          </ac:grpSpMkLst>
        </pc:grpChg>
        <pc:grpChg chg="add del mod">
          <ac:chgData name="Petro Petrashko (UA)" userId="5b2b3b98-3131-48c7-bb8a-19b196a36949" providerId="ADAL" clId="{351FE23D-61E3-4217-9757-ECF8C23312BF}" dt="2024-06-26T14:11:38.610" v="956" actId="165"/>
          <ac:grpSpMkLst>
            <pc:docMk/>
            <pc:sldMk cId="28118731" sldId="2147481984"/>
            <ac:grpSpMk id="28" creationId="{28C22736-AAC3-F887-56BD-DFCA085C2362}"/>
          </ac:grpSpMkLst>
        </pc:grpChg>
        <pc:grpChg chg="add del mod">
          <ac:chgData name="Petro Petrashko (UA)" userId="5b2b3b98-3131-48c7-bb8a-19b196a36949" providerId="ADAL" clId="{351FE23D-61E3-4217-9757-ECF8C23312BF}" dt="2024-06-26T14:11:38.610" v="956" actId="165"/>
          <ac:grpSpMkLst>
            <pc:docMk/>
            <pc:sldMk cId="28118731" sldId="2147481984"/>
            <ac:grpSpMk id="29" creationId="{20FD3A71-446B-FF06-44E8-0DAD9E71DC1C}"/>
          </ac:grpSpMkLst>
        </pc:grpChg>
        <pc:grpChg chg="add del mod">
          <ac:chgData name="Petro Petrashko (UA)" userId="5b2b3b98-3131-48c7-bb8a-19b196a36949" providerId="ADAL" clId="{351FE23D-61E3-4217-9757-ECF8C23312BF}" dt="2024-06-26T14:11:38.610" v="956" actId="165"/>
          <ac:grpSpMkLst>
            <pc:docMk/>
            <pc:sldMk cId="28118731" sldId="2147481984"/>
            <ac:grpSpMk id="30" creationId="{9F11FF39-A547-ABDF-1C30-E51BE4685F72}"/>
          </ac:grpSpMkLst>
        </pc:grpChg>
        <pc:grpChg chg="add del mod">
          <ac:chgData name="Petro Petrashko (UA)" userId="5b2b3b98-3131-48c7-bb8a-19b196a36949" providerId="ADAL" clId="{351FE23D-61E3-4217-9757-ECF8C23312BF}" dt="2024-06-26T14:11:38.610" v="956" actId="165"/>
          <ac:grpSpMkLst>
            <pc:docMk/>
            <pc:sldMk cId="28118731" sldId="2147481984"/>
            <ac:grpSpMk id="31" creationId="{3A643E4E-8A14-411C-4BF0-96B51DF4668F}"/>
          </ac:grpSpMkLst>
        </pc:grpChg>
        <pc:grpChg chg="add del mod">
          <ac:chgData name="Petro Petrashko (UA)" userId="5b2b3b98-3131-48c7-bb8a-19b196a36949" providerId="ADAL" clId="{351FE23D-61E3-4217-9757-ECF8C23312BF}" dt="2024-06-26T14:11:38.610" v="956" actId="165"/>
          <ac:grpSpMkLst>
            <pc:docMk/>
            <pc:sldMk cId="28118731" sldId="2147481984"/>
            <ac:grpSpMk id="34" creationId="{6EE1E9FF-75E7-B445-56CC-C0554AD3F423}"/>
          </ac:grpSpMkLst>
        </pc:grpChg>
        <pc:grpChg chg="add mod">
          <ac:chgData name="Petro Petrashko (UA)" userId="5b2b3b98-3131-48c7-bb8a-19b196a36949" providerId="ADAL" clId="{351FE23D-61E3-4217-9757-ECF8C23312BF}" dt="2024-06-26T14:09:28.483" v="544" actId="555"/>
          <ac:grpSpMkLst>
            <pc:docMk/>
            <pc:sldMk cId="28118731" sldId="2147481984"/>
            <ac:grpSpMk id="35" creationId="{9D994D3C-0B5C-C04D-9328-A29560F062BC}"/>
          </ac:grpSpMkLst>
        </pc:grpChg>
        <pc:grpChg chg="add mod">
          <ac:chgData name="Petro Petrashko (UA)" userId="5b2b3b98-3131-48c7-bb8a-19b196a36949" providerId="ADAL" clId="{351FE23D-61E3-4217-9757-ECF8C23312BF}" dt="2024-06-26T14:07:36.976" v="540" actId="465"/>
          <ac:grpSpMkLst>
            <pc:docMk/>
            <pc:sldMk cId="28118731" sldId="2147481984"/>
            <ac:grpSpMk id="36" creationId="{E97C9AF6-EF2C-A21C-4DD3-147299422C04}"/>
          </ac:grpSpMkLst>
        </pc:grpChg>
        <pc:grpChg chg="add mod">
          <ac:chgData name="Petro Petrashko (UA)" userId="5b2b3b98-3131-48c7-bb8a-19b196a36949" providerId="ADAL" clId="{351FE23D-61E3-4217-9757-ECF8C23312BF}" dt="2024-06-26T14:07:16.953" v="539" actId="465"/>
          <ac:grpSpMkLst>
            <pc:docMk/>
            <pc:sldMk cId="28118731" sldId="2147481984"/>
            <ac:grpSpMk id="43" creationId="{D40D455F-7EAB-93DB-3538-03AD491F0434}"/>
          </ac:grpSpMkLst>
        </pc:grpChg>
        <pc:grpChg chg="add mod">
          <ac:chgData name="Petro Petrashko (UA)" userId="5b2b3b98-3131-48c7-bb8a-19b196a36949" providerId="ADAL" clId="{351FE23D-61E3-4217-9757-ECF8C23312BF}" dt="2024-06-26T14:11:42.963" v="959" actId="552"/>
          <ac:grpSpMkLst>
            <pc:docMk/>
            <pc:sldMk cId="28118731" sldId="2147481984"/>
            <ac:grpSpMk id="45" creationId="{C0B71D80-C725-2567-7AFD-7CC6FA03448F}"/>
          </ac:grpSpMkLst>
        </pc:grpChg>
        <pc:graphicFrameChg chg="add mod ord modVis replST">
          <ac:chgData name="Petro Petrashko (UA)" userId="5b2b3b98-3131-48c7-bb8a-19b196a36949" providerId="ADAL" clId="{351FE23D-61E3-4217-9757-ECF8C23312BF}" dt="2024-06-26T14:11:43.675" v="998"/>
          <ac:graphicFrameMkLst>
            <pc:docMk/>
            <pc:sldMk cId="28118731" sldId="2147481984"/>
            <ac:graphicFrameMk id="49" creationId="{4ECA4EC1-4AF7-B0A9-BC88-A57CE40175C6}"/>
          </ac:graphicFrameMkLst>
        </pc:graphicFrameChg>
        <pc:picChg chg="mod">
          <ac:chgData name="Petro Petrashko (UA)" userId="5b2b3b98-3131-48c7-bb8a-19b196a36949" providerId="ADAL" clId="{351FE23D-61E3-4217-9757-ECF8C23312BF}" dt="2024-06-26T14:09:28.483" v="544" actId="555"/>
          <ac:picMkLst>
            <pc:docMk/>
            <pc:sldMk cId="28118731" sldId="2147481984"/>
            <ac:picMk id="48" creationId="{D0D5CD67-37F4-6905-E498-EC207DE06ED1}"/>
          </ac:picMkLst>
        </pc:picChg>
        <pc:cxnChg chg="mod">
          <ac:chgData name="Petro Petrashko (UA)" userId="5b2b3b98-3131-48c7-bb8a-19b196a36949" providerId="ADAL" clId="{351FE23D-61E3-4217-9757-ECF8C23312BF}" dt="2024-06-26T14:07:16.953" v="539" actId="465"/>
          <ac:cxnSpMkLst>
            <pc:docMk/>
            <pc:sldMk cId="28118731" sldId="2147481984"/>
            <ac:cxnSpMk id="6" creationId="{AA7A7FA2-43EB-E10E-9DB9-8125FF1E58FC}"/>
          </ac:cxnSpMkLst>
        </pc:cxnChg>
        <pc:cxnChg chg="mod">
          <ac:chgData name="Petro Petrashko (UA)" userId="5b2b3b98-3131-48c7-bb8a-19b196a36949" providerId="ADAL" clId="{351FE23D-61E3-4217-9757-ECF8C23312BF}" dt="2024-06-26T14:07:36.976" v="540" actId="465"/>
          <ac:cxnSpMkLst>
            <pc:docMk/>
            <pc:sldMk cId="28118731" sldId="2147481984"/>
            <ac:cxnSpMk id="12" creationId="{115247EA-EE3B-31EE-8D48-4898D35A3280}"/>
          </ac:cxnSpMkLst>
        </pc:cxnChg>
        <pc:cxnChg chg="mod">
          <ac:chgData name="Petro Petrashko (UA)" userId="5b2b3b98-3131-48c7-bb8a-19b196a36949" providerId="ADAL" clId="{351FE23D-61E3-4217-9757-ECF8C23312BF}" dt="2024-06-26T14:07:36.976" v="540" actId="465"/>
          <ac:cxnSpMkLst>
            <pc:docMk/>
            <pc:sldMk cId="28118731" sldId="2147481984"/>
            <ac:cxnSpMk id="13" creationId="{DBBAF735-721D-F52F-3F37-FEC03949D8CB}"/>
          </ac:cxnSpMkLst>
        </pc:cxnChg>
        <pc:cxnChg chg="mod">
          <ac:chgData name="Petro Petrashko (UA)" userId="5b2b3b98-3131-48c7-bb8a-19b196a36949" providerId="ADAL" clId="{351FE23D-61E3-4217-9757-ECF8C23312BF}" dt="2024-06-26T14:07:03.409" v="537" actId="465"/>
          <ac:cxnSpMkLst>
            <pc:docMk/>
            <pc:sldMk cId="28118731" sldId="2147481984"/>
            <ac:cxnSpMk id="15" creationId="{60508230-2256-BEAC-3F1B-1FBD12640BF7}"/>
          </ac:cxnSpMkLst>
        </pc:cxnChg>
        <pc:cxnChg chg="mod">
          <ac:chgData name="Petro Petrashko (UA)" userId="5b2b3b98-3131-48c7-bb8a-19b196a36949" providerId="ADAL" clId="{351FE23D-61E3-4217-9757-ECF8C23312BF}" dt="2024-06-26T14:07:03.409" v="537" actId="465"/>
          <ac:cxnSpMkLst>
            <pc:docMk/>
            <pc:sldMk cId="28118731" sldId="2147481984"/>
            <ac:cxnSpMk id="16" creationId="{1E7CC1BC-C16B-82D6-0EA2-3A181E8600F1}"/>
          </ac:cxnSpMkLst>
        </pc:cxnChg>
        <pc:cxnChg chg="mod">
          <ac:chgData name="Petro Petrashko (UA)" userId="5b2b3b98-3131-48c7-bb8a-19b196a36949" providerId="ADAL" clId="{351FE23D-61E3-4217-9757-ECF8C23312BF}" dt="2024-06-26T14:07:16.953" v="539" actId="465"/>
          <ac:cxnSpMkLst>
            <pc:docMk/>
            <pc:sldMk cId="28118731" sldId="2147481984"/>
            <ac:cxnSpMk id="59" creationId="{7E500747-C848-E521-FDAE-12CD91281C7E}"/>
          </ac:cxnSpMkLst>
        </pc:cxnChg>
      </pc:sldChg>
      <pc:sldChg chg="addSp delSp modSp mod">
        <pc:chgData name="Petro Petrashko (UA)" userId="5b2b3b98-3131-48c7-bb8a-19b196a36949" providerId="ADAL" clId="{351FE23D-61E3-4217-9757-ECF8C23312BF}" dt="2024-06-26T14:10:23.228" v="636"/>
        <pc:sldMkLst>
          <pc:docMk/>
          <pc:sldMk cId="1528034808" sldId="2147481985"/>
        </pc:sldMkLst>
        <pc:spChg chg="mod">
          <ac:chgData name="Petro Petrashko (UA)" userId="5b2b3b98-3131-48c7-bb8a-19b196a36949" providerId="ADAL" clId="{351FE23D-61E3-4217-9757-ECF8C23312BF}" dt="2024-06-26T14:10:23.134" v="594" actId="948"/>
          <ac:spMkLst>
            <pc:docMk/>
            <pc:sldMk cId="1528034808" sldId="2147481985"/>
            <ac:spMk id="2" creationId="{EC47296D-9568-ED7D-0457-80174E2BF2F8}"/>
          </ac:spMkLst>
        </pc:spChg>
        <pc:spChg chg="add del mod modVis">
          <ac:chgData name="Petro Petrashko (UA)" userId="5b2b3b98-3131-48c7-bb8a-19b196a36949" providerId="ADAL" clId="{351FE23D-61E3-4217-9757-ECF8C23312BF}" dt="2024-06-26T14:10:23.178" v="621"/>
          <ac:spMkLst>
            <pc:docMk/>
            <pc:sldMk cId="1528034808" sldId="2147481985"/>
            <ac:spMk id="4" creationId="{A6ABE66B-E495-E822-9AC5-E4121982AD6C}"/>
          </ac:spMkLst>
        </pc:spChg>
        <pc:spChg chg="mod">
          <ac:chgData name="Petro Petrashko (UA)" userId="5b2b3b98-3131-48c7-bb8a-19b196a36949" providerId="ADAL" clId="{351FE23D-61E3-4217-9757-ECF8C23312BF}" dt="2024-06-26T14:10:20.438" v="592" actId="164"/>
          <ac:spMkLst>
            <pc:docMk/>
            <pc:sldMk cId="1528034808" sldId="2147481985"/>
            <ac:spMk id="57" creationId="{A073C5EE-5299-ADD0-94D7-3170276FA166}"/>
          </ac:spMkLst>
        </pc:spChg>
        <pc:spChg chg="mod">
          <ac:chgData name="Petro Petrashko (UA)" userId="5b2b3b98-3131-48c7-bb8a-19b196a36949" providerId="ADAL" clId="{351FE23D-61E3-4217-9757-ECF8C23312BF}" dt="2024-06-26T14:10:20.438" v="592" actId="164"/>
          <ac:spMkLst>
            <pc:docMk/>
            <pc:sldMk cId="1528034808" sldId="2147481985"/>
            <ac:spMk id="58" creationId="{1CA40E5F-52E1-906F-10FD-B58385773173}"/>
          </ac:spMkLst>
        </pc:spChg>
        <pc:grpChg chg="add mod">
          <ac:chgData name="Petro Petrashko (UA)" userId="5b2b3b98-3131-48c7-bb8a-19b196a36949" providerId="ADAL" clId="{351FE23D-61E3-4217-9757-ECF8C23312BF}" dt="2024-06-26T14:10:22.565" v="593" actId="552"/>
          <ac:grpSpMkLst>
            <pc:docMk/>
            <pc:sldMk cId="1528034808" sldId="2147481985"/>
            <ac:grpSpMk id="3" creationId="{2D6035EB-21B7-A2AC-BF5F-3D0849CC3AE3}"/>
          </ac:grpSpMkLst>
        </pc:grpChg>
        <pc:graphicFrameChg chg="add mod ord modVis replST">
          <ac:chgData name="Petro Petrashko (UA)" userId="5b2b3b98-3131-48c7-bb8a-19b196a36949" providerId="ADAL" clId="{351FE23D-61E3-4217-9757-ECF8C23312BF}" dt="2024-06-26T14:10:23.228" v="636"/>
          <ac:graphicFrameMkLst>
            <pc:docMk/>
            <pc:sldMk cId="1528034808" sldId="2147481985"/>
            <ac:graphicFrameMk id="6" creationId="{062C7562-6D69-5005-C5F1-C5EA8C88C940}"/>
          </ac:graphicFrameMkLst>
        </pc:graphicFrameChg>
        <pc:picChg chg="mod modCrop">
          <ac:chgData name="Petro Petrashko (UA)" userId="5b2b3b98-3131-48c7-bb8a-19b196a36949" providerId="ADAL" clId="{351FE23D-61E3-4217-9757-ECF8C23312BF}" dt="2024-06-26T13:58:00.554" v="195" actId="732"/>
          <ac:picMkLst>
            <pc:docMk/>
            <pc:sldMk cId="1528034808" sldId="2147481985"/>
            <ac:picMk id="32" creationId="{81625016-7AFB-525A-A0DD-13D080F9F7CF}"/>
          </ac:picMkLst>
        </pc:picChg>
      </pc:sldChg>
      <pc:sldChg chg="addSp modSp mod">
        <pc:chgData name="Petro Petrashko (UA)" userId="5b2b3b98-3131-48c7-bb8a-19b196a36949" providerId="ADAL" clId="{351FE23D-61E3-4217-9757-ECF8C23312BF}" dt="2024-06-26T10:35:48.968" v="22" actId="255"/>
        <pc:sldMkLst>
          <pc:docMk/>
          <pc:sldMk cId="802236342" sldId="2147481991"/>
        </pc:sldMkLst>
        <pc:spChg chg="mod">
          <ac:chgData name="Petro Petrashko (UA)" userId="5b2b3b98-3131-48c7-bb8a-19b196a36949" providerId="ADAL" clId="{351FE23D-61E3-4217-9757-ECF8C23312BF}" dt="2024-06-26T10:35:48.968" v="22" actId="255"/>
          <ac:spMkLst>
            <pc:docMk/>
            <pc:sldMk cId="802236342" sldId="2147481991"/>
            <ac:spMk id="22" creationId="{DAE9E604-1C25-457F-090B-9B5F2D4E578F}"/>
          </ac:spMkLst>
        </pc:spChg>
        <pc:spChg chg="add mod">
          <ac:chgData name="Petro Petrashko (UA)" userId="5b2b3b98-3131-48c7-bb8a-19b196a36949" providerId="ADAL" clId="{351FE23D-61E3-4217-9757-ECF8C23312BF}" dt="2024-06-26T10:34:26.682" v="11" actId="1076"/>
          <ac:spMkLst>
            <pc:docMk/>
            <pc:sldMk cId="802236342" sldId="2147481991"/>
            <ac:spMk id="95" creationId="{22D4B225-D47B-7BF9-C1B5-24859137C3E4}"/>
          </ac:spMkLst>
        </pc:spChg>
        <pc:grpChg chg="mod">
          <ac:chgData name="Petro Petrashko (UA)" userId="5b2b3b98-3131-48c7-bb8a-19b196a36949" providerId="ADAL" clId="{351FE23D-61E3-4217-9757-ECF8C23312BF}" dt="2024-06-26T10:33:58.181" v="0" actId="465"/>
          <ac:grpSpMkLst>
            <pc:docMk/>
            <pc:sldMk cId="802236342" sldId="2147481991"/>
            <ac:grpSpMk id="86" creationId="{0F3ACE4A-2421-7789-1D8F-54497EBCE9E2}"/>
          </ac:grpSpMkLst>
        </pc:grpChg>
        <pc:grpChg chg="mod">
          <ac:chgData name="Petro Petrashko (UA)" userId="5b2b3b98-3131-48c7-bb8a-19b196a36949" providerId="ADAL" clId="{351FE23D-61E3-4217-9757-ECF8C23312BF}" dt="2024-06-26T10:33:58.181" v="0" actId="465"/>
          <ac:grpSpMkLst>
            <pc:docMk/>
            <pc:sldMk cId="802236342" sldId="2147481991"/>
            <ac:grpSpMk id="87" creationId="{0A0C89DD-319E-0866-7074-F3537FD36D58}"/>
          </ac:grpSpMkLst>
        </pc:grpChg>
        <pc:grpChg chg="mod">
          <ac:chgData name="Petro Petrashko (UA)" userId="5b2b3b98-3131-48c7-bb8a-19b196a36949" providerId="ADAL" clId="{351FE23D-61E3-4217-9757-ECF8C23312BF}" dt="2024-06-26T10:33:58.181" v="0" actId="465"/>
          <ac:grpSpMkLst>
            <pc:docMk/>
            <pc:sldMk cId="802236342" sldId="2147481991"/>
            <ac:grpSpMk id="88" creationId="{C92D1B10-F979-48C2-B24C-081F323555AE}"/>
          </ac:grpSpMkLst>
        </pc:grpChg>
        <pc:grpChg chg="mod">
          <ac:chgData name="Petro Petrashko (UA)" userId="5b2b3b98-3131-48c7-bb8a-19b196a36949" providerId="ADAL" clId="{351FE23D-61E3-4217-9757-ECF8C23312BF}" dt="2024-06-26T10:34:02.469" v="1" actId="1076"/>
          <ac:grpSpMkLst>
            <pc:docMk/>
            <pc:sldMk cId="802236342" sldId="2147481991"/>
            <ac:grpSpMk id="94" creationId="{3BB46F0B-411D-7168-8D0B-E5E1A567F70C}"/>
          </ac:grpSpMkLst>
        </pc:grpChg>
        <pc:cxnChg chg="mod">
          <ac:chgData name="Petro Petrashko (UA)" userId="5b2b3b98-3131-48c7-bb8a-19b196a36949" providerId="ADAL" clId="{351FE23D-61E3-4217-9757-ECF8C23312BF}" dt="2024-06-26T10:33:58.181" v="0" actId="465"/>
          <ac:cxnSpMkLst>
            <pc:docMk/>
            <pc:sldMk cId="802236342" sldId="2147481991"/>
            <ac:cxnSpMk id="4" creationId="{9128A8B2-9B22-0215-9482-2DD2B36E81B3}"/>
          </ac:cxnSpMkLst>
        </pc:cxnChg>
        <pc:cxnChg chg="mod">
          <ac:chgData name="Petro Petrashko (UA)" userId="5b2b3b98-3131-48c7-bb8a-19b196a36949" providerId="ADAL" clId="{351FE23D-61E3-4217-9757-ECF8C23312BF}" dt="2024-06-26T10:33:58.181" v="0" actId="465"/>
          <ac:cxnSpMkLst>
            <pc:docMk/>
            <pc:sldMk cId="802236342" sldId="2147481991"/>
            <ac:cxnSpMk id="11" creationId="{86CF91DB-4871-AE7B-3C9D-00EC6329D387}"/>
          </ac:cxnSpMkLst>
        </pc:cxnChg>
        <pc:cxnChg chg="mod">
          <ac:chgData name="Petro Petrashko (UA)" userId="5b2b3b98-3131-48c7-bb8a-19b196a36949" providerId="ADAL" clId="{351FE23D-61E3-4217-9757-ECF8C23312BF}" dt="2024-06-26T10:33:58.181" v="0" actId="465"/>
          <ac:cxnSpMkLst>
            <pc:docMk/>
            <pc:sldMk cId="802236342" sldId="2147481991"/>
            <ac:cxnSpMk id="12" creationId="{FE6BA565-B4D8-F247-E016-E204B472C39E}"/>
          </ac:cxnSpMkLst>
        </pc:cxnChg>
        <pc:cxnChg chg="mod">
          <ac:chgData name="Petro Petrashko (UA)" userId="5b2b3b98-3131-48c7-bb8a-19b196a36949" providerId="ADAL" clId="{351FE23D-61E3-4217-9757-ECF8C23312BF}" dt="2024-06-26T10:33:58.181" v="0" actId="465"/>
          <ac:cxnSpMkLst>
            <pc:docMk/>
            <pc:sldMk cId="802236342" sldId="2147481991"/>
            <ac:cxnSpMk id="16" creationId="{1E7CC1BC-C16B-82D6-0EA2-3A181E8600F1}"/>
          </ac:cxnSpMkLst>
        </pc:cxnChg>
      </pc:sldChg>
      <pc:sldChg chg="addSp delSp modSp mod">
        <pc:chgData name="Petro Petrashko (UA)" userId="5b2b3b98-3131-48c7-bb8a-19b196a36949" providerId="ADAL" clId="{351FE23D-61E3-4217-9757-ECF8C23312BF}" dt="2024-06-26T14:34:45.145" v="1219" actId="478"/>
        <pc:sldMkLst>
          <pc:docMk/>
          <pc:sldMk cId="1613844391" sldId="2147481992"/>
        </pc:sldMkLst>
        <pc:spChg chg="mod ord">
          <ac:chgData name="Petro Petrashko (UA)" userId="5b2b3b98-3131-48c7-bb8a-19b196a36949" providerId="ADAL" clId="{351FE23D-61E3-4217-9757-ECF8C23312BF}" dt="2024-06-26T14:32:57.892" v="1177"/>
          <ac:spMkLst>
            <pc:docMk/>
            <pc:sldMk cId="1613844391" sldId="2147481992"/>
            <ac:spMk id="2" creationId="{EC47296D-9568-ED7D-0457-80174E2BF2F8}"/>
          </ac:spMkLst>
        </pc:spChg>
        <pc:spChg chg="mod topLvl">
          <ac:chgData name="Petro Petrashko (UA)" userId="5b2b3b98-3131-48c7-bb8a-19b196a36949" providerId="ADAL" clId="{351FE23D-61E3-4217-9757-ECF8C23312BF}" dt="2024-06-26T14:23:08.548" v="1081" actId="164"/>
          <ac:spMkLst>
            <pc:docMk/>
            <pc:sldMk cId="1613844391" sldId="2147481992"/>
            <ac:spMk id="10" creationId="{51187766-79AB-3948-D828-6DE1F7A2DC7F}"/>
          </ac:spMkLst>
        </pc:spChg>
        <pc:spChg chg="mod topLvl">
          <ac:chgData name="Petro Petrashko (UA)" userId="5b2b3b98-3131-48c7-bb8a-19b196a36949" providerId="ADAL" clId="{351FE23D-61E3-4217-9757-ECF8C23312BF}" dt="2024-06-26T14:23:08.548" v="1081" actId="164"/>
          <ac:spMkLst>
            <pc:docMk/>
            <pc:sldMk cId="1613844391" sldId="2147481992"/>
            <ac:spMk id="11" creationId="{45A3D1BB-AB8A-78FC-67E4-3110390D7C56}"/>
          </ac:spMkLst>
        </pc:spChg>
        <pc:spChg chg="mod topLvl">
          <ac:chgData name="Petro Petrashko (UA)" userId="5b2b3b98-3131-48c7-bb8a-19b196a36949" providerId="ADAL" clId="{351FE23D-61E3-4217-9757-ECF8C23312BF}" dt="2024-06-26T14:23:08.548" v="1081" actId="164"/>
          <ac:spMkLst>
            <pc:docMk/>
            <pc:sldMk cId="1613844391" sldId="2147481992"/>
            <ac:spMk id="12" creationId="{F15812ED-3612-58F0-3F42-83786447EF99}"/>
          </ac:spMkLst>
        </pc:spChg>
        <pc:spChg chg="del">
          <ac:chgData name="Petro Petrashko (UA)" userId="5b2b3b98-3131-48c7-bb8a-19b196a36949" providerId="ADAL" clId="{351FE23D-61E3-4217-9757-ECF8C23312BF}" dt="2024-06-26T14:32:52.659" v="1173" actId="478"/>
          <ac:spMkLst>
            <pc:docMk/>
            <pc:sldMk cId="1613844391" sldId="2147481992"/>
            <ac:spMk id="13" creationId="{68DABE15-A5F6-6D52-EC7D-BC1F02219274}"/>
          </ac:spMkLst>
        </pc:spChg>
        <pc:spChg chg="mod topLvl">
          <ac:chgData name="Petro Petrashko (UA)" userId="5b2b3b98-3131-48c7-bb8a-19b196a36949" providerId="ADAL" clId="{351FE23D-61E3-4217-9757-ECF8C23312BF}" dt="2024-06-26T14:23:04.612" v="1080" actId="164"/>
          <ac:spMkLst>
            <pc:docMk/>
            <pc:sldMk cId="1613844391" sldId="2147481992"/>
            <ac:spMk id="14" creationId="{D8F7AE61-B751-0B6B-228E-7A418D2EC00D}"/>
          </ac:spMkLst>
        </pc:spChg>
        <pc:spChg chg="mod topLvl">
          <ac:chgData name="Petro Petrashko (UA)" userId="5b2b3b98-3131-48c7-bb8a-19b196a36949" providerId="ADAL" clId="{351FE23D-61E3-4217-9757-ECF8C23312BF}" dt="2024-06-26T14:23:04.612" v="1080" actId="164"/>
          <ac:spMkLst>
            <pc:docMk/>
            <pc:sldMk cId="1613844391" sldId="2147481992"/>
            <ac:spMk id="22" creationId="{F6A8C2FE-5E94-A671-A2FB-B82BA60AE593}"/>
          </ac:spMkLst>
        </pc:spChg>
        <pc:spChg chg="mod topLvl">
          <ac:chgData name="Petro Petrashko (UA)" userId="5b2b3b98-3131-48c7-bb8a-19b196a36949" providerId="ADAL" clId="{351FE23D-61E3-4217-9757-ECF8C23312BF}" dt="2024-06-26T14:23:04.612" v="1080" actId="164"/>
          <ac:spMkLst>
            <pc:docMk/>
            <pc:sldMk cId="1613844391" sldId="2147481992"/>
            <ac:spMk id="29" creationId="{963CE3B2-0689-BBA9-CFCD-1725FC00718B}"/>
          </ac:spMkLst>
        </pc:spChg>
        <pc:spChg chg="mod topLvl">
          <ac:chgData name="Petro Petrashko (UA)" userId="5b2b3b98-3131-48c7-bb8a-19b196a36949" providerId="ADAL" clId="{351FE23D-61E3-4217-9757-ECF8C23312BF}" dt="2024-06-26T14:23:12.352" v="1082" actId="164"/>
          <ac:spMkLst>
            <pc:docMk/>
            <pc:sldMk cId="1613844391" sldId="2147481992"/>
            <ac:spMk id="31" creationId="{4F2FF167-7C7B-B9E6-3AFE-8A596E06FC6E}"/>
          </ac:spMkLst>
        </pc:spChg>
        <pc:spChg chg="mod topLvl">
          <ac:chgData name="Petro Petrashko (UA)" userId="5b2b3b98-3131-48c7-bb8a-19b196a36949" providerId="ADAL" clId="{351FE23D-61E3-4217-9757-ECF8C23312BF}" dt="2024-06-26T14:23:12.352" v="1082" actId="164"/>
          <ac:spMkLst>
            <pc:docMk/>
            <pc:sldMk cId="1613844391" sldId="2147481992"/>
            <ac:spMk id="32" creationId="{8D565256-1164-3A41-1BCA-A0CFECF31434}"/>
          </ac:spMkLst>
        </pc:spChg>
        <pc:spChg chg="mod topLvl">
          <ac:chgData name="Petro Petrashko (UA)" userId="5b2b3b98-3131-48c7-bb8a-19b196a36949" providerId="ADAL" clId="{351FE23D-61E3-4217-9757-ECF8C23312BF}" dt="2024-06-26T14:23:12.352" v="1082" actId="164"/>
          <ac:spMkLst>
            <pc:docMk/>
            <pc:sldMk cId="1613844391" sldId="2147481992"/>
            <ac:spMk id="33" creationId="{FB8CB5F3-EC2E-E5ED-556D-E5EFD1D0B13C}"/>
          </ac:spMkLst>
        </pc:spChg>
        <pc:spChg chg="mod topLvl">
          <ac:chgData name="Petro Petrashko (UA)" userId="5b2b3b98-3131-48c7-bb8a-19b196a36949" providerId="ADAL" clId="{351FE23D-61E3-4217-9757-ECF8C23312BF}" dt="2024-06-26T14:23:12.352" v="1082" actId="164"/>
          <ac:spMkLst>
            <pc:docMk/>
            <pc:sldMk cId="1613844391" sldId="2147481992"/>
            <ac:spMk id="35" creationId="{811931EC-6857-1B96-90C3-EBA4143A997B}"/>
          </ac:spMkLst>
        </pc:spChg>
        <pc:spChg chg="mod topLvl">
          <ac:chgData name="Petro Petrashko (UA)" userId="5b2b3b98-3131-48c7-bb8a-19b196a36949" providerId="ADAL" clId="{351FE23D-61E3-4217-9757-ECF8C23312BF}" dt="2024-06-26T14:23:12.352" v="1082" actId="164"/>
          <ac:spMkLst>
            <pc:docMk/>
            <pc:sldMk cId="1613844391" sldId="2147481992"/>
            <ac:spMk id="37" creationId="{2D51C834-187B-5F0A-FBAA-F1643F41C37B}"/>
          </ac:spMkLst>
        </pc:spChg>
        <pc:spChg chg="mod topLvl">
          <ac:chgData name="Petro Petrashko (UA)" userId="5b2b3b98-3131-48c7-bb8a-19b196a36949" providerId="ADAL" clId="{351FE23D-61E3-4217-9757-ECF8C23312BF}" dt="2024-06-26T14:23:12.352" v="1082" actId="164"/>
          <ac:spMkLst>
            <pc:docMk/>
            <pc:sldMk cId="1613844391" sldId="2147481992"/>
            <ac:spMk id="39" creationId="{5E4FBBF7-73AD-F722-B3B1-69175ACC2A39}"/>
          </ac:spMkLst>
        </pc:spChg>
        <pc:spChg chg="mod topLvl">
          <ac:chgData name="Petro Petrashko (UA)" userId="5b2b3b98-3131-48c7-bb8a-19b196a36949" providerId="ADAL" clId="{351FE23D-61E3-4217-9757-ECF8C23312BF}" dt="2024-06-26T14:23:08.548" v="1081" actId="164"/>
          <ac:spMkLst>
            <pc:docMk/>
            <pc:sldMk cId="1613844391" sldId="2147481992"/>
            <ac:spMk id="43" creationId="{F8B22F5E-FAAC-75DF-49F4-16340651EEE9}"/>
          </ac:spMkLst>
        </pc:spChg>
        <pc:spChg chg="add mod ord">
          <ac:chgData name="Petro Petrashko (UA)" userId="5b2b3b98-3131-48c7-bb8a-19b196a36949" providerId="ADAL" clId="{351FE23D-61E3-4217-9757-ECF8C23312BF}" dt="2024-06-26T14:34:17.521" v="1214" actId="554"/>
          <ac:spMkLst>
            <pc:docMk/>
            <pc:sldMk cId="1613844391" sldId="2147481992"/>
            <ac:spMk id="48" creationId="{8D2F592B-245C-22B7-41CF-F80BFB0E750F}"/>
          </ac:spMkLst>
        </pc:spChg>
        <pc:spChg chg="add del mod modVis">
          <ac:chgData name="Petro Petrashko (UA)" userId="5b2b3b98-3131-48c7-bb8a-19b196a36949" providerId="ADAL" clId="{351FE23D-61E3-4217-9757-ECF8C23312BF}" dt="2024-06-26T14:32:37.293" v="1156"/>
          <ac:spMkLst>
            <pc:docMk/>
            <pc:sldMk cId="1613844391" sldId="2147481992"/>
            <ac:spMk id="49" creationId="{0779E173-5C98-16D1-2806-2E79789354B8}"/>
          </ac:spMkLst>
        </pc:spChg>
        <pc:spChg chg="add del">
          <ac:chgData name="Petro Petrashko (UA)" userId="5b2b3b98-3131-48c7-bb8a-19b196a36949" providerId="ADAL" clId="{351FE23D-61E3-4217-9757-ECF8C23312BF}" dt="2024-06-26T14:34:45.145" v="1219" actId="478"/>
          <ac:spMkLst>
            <pc:docMk/>
            <pc:sldMk cId="1613844391" sldId="2147481992"/>
            <ac:spMk id="50" creationId="{F4E6A3E1-0C53-D9D3-CDED-31EDF5A1A774}"/>
          </ac:spMkLst>
        </pc:spChg>
        <pc:spChg chg="mod ord">
          <ac:chgData name="Petro Petrashko (UA)" userId="5b2b3b98-3131-48c7-bb8a-19b196a36949" providerId="ADAL" clId="{351FE23D-61E3-4217-9757-ECF8C23312BF}" dt="2024-06-26T14:34:37.302" v="1217" actId="1076"/>
          <ac:spMkLst>
            <pc:docMk/>
            <pc:sldMk cId="1613844391" sldId="2147481992"/>
            <ac:spMk id="51" creationId="{AF206590-85C6-978A-0EA2-5D58ECD8D4AF}"/>
          </ac:spMkLst>
        </pc:spChg>
        <pc:spChg chg="mod ord">
          <ac:chgData name="Petro Petrashko (UA)" userId="5b2b3b98-3131-48c7-bb8a-19b196a36949" providerId="ADAL" clId="{351FE23D-61E3-4217-9757-ECF8C23312BF}" dt="2024-06-26T14:34:37.302" v="1217" actId="1076"/>
          <ac:spMkLst>
            <pc:docMk/>
            <pc:sldMk cId="1613844391" sldId="2147481992"/>
            <ac:spMk id="52" creationId="{F7DD9070-AFBA-209D-AA31-2A5A758289ED}"/>
          </ac:spMkLst>
        </pc:spChg>
        <pc:spChg chg="mod topLvl">
          <ac:chgData name="Petro Petrashko (UA)" userId="5b2b3b98-3131-48c7-bb8a-19b196a36949" providerId="ADAL" clId="{351FE23D-61E3-4217-9757-ECF8C23312BF}" dt="2024-06-26T14:23:08.548" v="1081" actId="164"/>
          <ac:spMkLst>
            <pc:docMk/>
            <pc:sldMk cId="1613844391" sldId="2147481992"/>
            <ac:spMk id="54" creationId="{EE4D52E6-3945-607A-CD49-B0FBED36A37E}"/>
          </ac:spMkLst>
        </pc:spChg>
        <pc:spChg chg="mod topLvl">
          <ac:chgData name="Petro Petrashko (UA)" userId="5b2b3b98-3131-48c7-bb8a-19b196a36949" providerId="ADAL" clId="{351FE23D-61E3-4217-9757-ECF8C23312BF}" dt="2024-06-26T14:23:08.548" v="1081" actId="164"/>
          <ac:spMkLst>
            <pc:docMk/>
            <pc:sldMk cId="1613844391" sldId="2147481992"/>
            <ac:spMk id="55" creationId="{92AFCC23-7BBF-4DC8-B27C-CF740F20218E}"/>
          </ac:spMkLst>
        </pc:spChg>
        <pc:spChg chg="mod topLvl">
          <ac:chgData name="Petro Petrashko (UA)" userId="5b2b3b98-3131-48c7-bb8a-19b196a36949" providerId="ADAL" clId="{351FE23D-61E3-4217-9757-ECF8C23312BF}" dt="2024-06-26T14:23:04.612" v="1080" actId="164"/>
          <ac:spMkLst>
            <pc:docMk/>
            <pc:sldMk cId="1613844391" sldId="2147481992"/>
            <ac:spMk id="57" creationId="{E2D42F57-444E-76CB-BBCE-79669F05A24D}"/>
          </ac:spMkLst>
        </pc:spChg>
        <pc:spChg chg="mod topLvl">
          <ac:chgData name="Petro Petrashko (UA)" userId="5b2b3b98-3131-48c7-bb8a-19b196a36949" providerId="ADAL" clId="{351FE23D-61E3-4217-9757-ECF8C23312BF}" dt="2024-06-26T14:23:04.612" v="1080" actId="164"/>
          <ac:spMkLst>
            <pc:docMk/>
            <pc:sldMk cId="1613844391" sldId="2147481992"/>
            <ac:spMk id="58" creationId="{A186B658-9A0E-BBA7-9B21-44BC57CAA7F2}"/>
          </ac:spMkLst>
        </pc:spChg>
        <pc:spChg chg="mod topLvl">
          <ac:chgData name="Petro Petrashko (UA)" userId="5b2b3b98-3131-48c7-bb8a-19b196a36949" providerId="ADAL" clId="{351FE23D-61E3-4217-9757-ECF8C23312BF}" dt="2024-06-26T14:23:04.612" v="1080" actId="164"/>
          <ac:spMkLst>
            <pc:docMk/>
            <pc:sldMk cId="1613844391" sldId="2147481992"/>
            <ac:spMk id="59" creationId="{8F1E0B3E-E914-6820-0D81-D1ED9FAED68A}"/>
          </ac:spMkLst>
        </pc:spChg>
        <pc:spChg chg="mod ord">
          <ac:chgData name="Petro Petrashko (UA)" userId="5b2b3b98-3131-48c7-bb8a-19b196a36949" providerId="ADAL" clId="{351FE23D-61E3-4217-9757-ECF8C23312BF}" dt="2024-06-26T14:32:57.955" v="1197"/>
          <ac:spMkLst>
            <pc:docMk/>
            <pc:sldMk cId="1613844391" sldId="2147481992"/>
            <ac:spMk id="61" creationId="{CF6A31AA-8A7F-70C8-6B79-856B02CB0375}"/>
          </ac:spMkLst>
        </pc:spChg>
        <pc:spChg chg="add del mod">
          <ac:chgData name="Petro Petrashko (UA)" userId="5b2b3b98-3131-48c7-bb8a-19b196a36949" providerId="ADAL" clId="{351FE23D-61E3-4217-9757-ECF8C23312BF}" dt="2024-06-26T11:56:47.498" v="66" actId="478"/>
          <ac:spMkLst>
            <pc:docMk/>
            <pc:sldMk cId="1613844391" sldId="2147481992"/>
            <ac:spMk id="63" creationId="{9767D0AF-8042-1129-C220-36560F77CD42}"/>
          </ac:spMkLst>
        </pc:spChg>
        <pc:spChg chg="add del mod modVis">
          <ac:chgData name="Petro Petrashko (UA)" userId="5b2b3b98-3131-48c7-bb8a-19b196a36949" providerId="ADAL" clId="{351FE23D-61E3-4217-9757-ECF8C23312BF}" dt="2024-06-26T11:56:58.602" v="99"/>
          <ac:spMkLst>
            <pc:docMk/>
            <pc:sldMk cId="1613844391" sldId="2147481992"/>
            <ac:spMk id="67" creationId="{F0BF6D04-1F68-158C-F7FB-85036F7D8F09}"/>
          </ac:spMkLst>
        </pc:spChg>
        <pc:spChg chg="mod ord">
          <ac:chgData name="Petro Petrashko (UA)" userId="5b2b3b98-3131-48c7-bb8a-19b196a36949" providerId="ADAL" clId="{351FE23D-61E3-4217-9757-ECF8C23312BF}" dt="2024-06-26T14:32:57.914" v="1179"/>
          <ac:spMkLst>
            <pc:docMk/>
            <pc:sldMk cId="1613844391" sldId="2147481992"/>
            <ac:spMk id="97" creationId="{8FF7DDF1-7E6A-F978-68B7-8269C3B570E1}"/>
          </ac:spMkLst>
        </pc:spChg>
        <pc:grpChg chg="mod ord">
          <ac:chgData name="Petro Petrashko (UA)" userId="5b2b3b98-3131-48c7-bb8a-19b196a36949" providerId="ADAL" clId="{351FE23D-61E3-4217-9757-ECF8C23312BF}" dt="2024-06-26T14:32:57.914" v="1181"/>
          <ac:grpSpMkLst>
            <pc:docMk/>
            <pc:sldMk cId="1613844391" sldId="2147481992"/>
            <ac:grpSpMk id="3" creationId="{53A703A3-3975-F6E3-8DB1-7F94A02DBDD4}"/>
          </ac:grpSpMkLst>
        </pc:grpChg>
        <pc:grpChg chg="add mod">
          <ac:chgData name="Petro Petrashko (UA)" userId="5b2b3b98-3131-48c7-bb8a-19b196a36949" providerId="ADAL" clId="{351FE23D-61E3-4217-9757-ECF8C23312BF}" dt="2024-06-26T14:13:49.120" v="1014" actId="164"/>
          <ac:grpSpMkLst>
            <pc:docMk/>
            <pc:sldMk cId="1613844391" sldId="2147481992"/>
            <ac:grpSpMk id="15" creationId="{440873DB-5AEC-76C1-6ADA-502238A7051A}"/>
          </ac:grpSpMkLst>
        </pc:grpChg>
        <pc:grpChg chg="add mod">
          <ac:chgData name="Petro Petrashko (UA)" userId="5b2b3b98-3131-48c7-bb8a-19b196a36949" providerId="ADAL" clId="{351FE23D-61E3-4217-9757-ECF8C23312BF}" dt="2024-06-26T14:13:48.638" v="1013" actId="164"/>
          <ac:grpSpMkLst>
            <pc:docMk/>
            <pc:sldMk cId="1613844391" sldId="2147481992"/>
            <ac:grpSpMk id="16" creationId="{F716C00C-1BBE-D693-4B07-B23099F22FEB}"/>
          </ac:grpSpMkLst>
        </pc:grpChg>
        <pc:grpChg chg="add del mod">
          <ac:chgData name="Petro Petrashko (UA)" userId="5b2b3b98-3131-48c7-bb8a-19b196a36949" providerId="ADAL" clId="{351FE23D-61E3-4217-9757-ECF8C23312BF}" dt="2024-06-26T14:15:13.603" v="1031" actId="165"/>
          <ac:grpSpMkLst>
            <pc:docMk/>
            <pc:sldMk cId="1613844391" sldId="2147481992"/>
            <ac:grpSpMk id="17" creationId="{92AB4196-036C-7640-4DBC-235A3E6C869B}"/>
          </ac:grpSpMkLst>
        </pc:grpChg>
        <pc:grpChg chg="add del mod">
          <ac:chgData name="Petro Petrashko (UA)" userId="5b2b3b98-3131-48c7-bb8a-19b196a36949" providerId="ADAL" clId="{351FE23D-61E3-4217-9757-ECF8C23312BF}" dt="2024-06-26T14:15:13.603" v="1031" actId="165"/>
          <ac:grpSpMkLst>
            <pc:docMk/>
            <pc:sldMk cId="1613844391" sldId="2147481992"/>
            <ac:grpSpMk id="18" creationId="{544F539B-BC6B-4CFE-F492-86200D6C5672}"/>
          </ac:grpSpMkLst>
        </pc:grpChg>
        <pc:grpChg chg="add del mod">
          <ac:chgData name="Petro Petrashko (UA)" userId="5b2b3b98-3131-48c7-bb8a-19b196a36949" providerId="ADAL" clId="{351FE23D-61E3-4217-9757-ECF8C23312BF}" dt="2024-06-26T14:15:13.603" v="1031" actId="165"/>
          <ac:grpSpMkLst>
            <pc:docMk/>
            <pc:sldMk cId="1613844391" sldId="2147481992"/>
            <ac:grpSpMk id="19" creationId="{31542FA8-FB95-BBD3-9940-9FDA4805EE60}"/>
          </ac:grpSpMkLst>
        </pc:grpChg>
        <pc:grpChg chg="add del mod">
          <ac:chgData name="Petro Petrashko (UA)" userId="5b2b3b98-3131-48c7-bb8a-19b196a36949" providerId="ADAL" clId="{351FE23D-61E3-4217-9757-ECF8C23312BF}" dt="2024-06-26T14:22:35.810" v="1075" actId="165"/>
          <ac:grpSpMkLst>
            <pc:docMk/>
            <pc:sldMk cId="1613844391" sldId="2147481992"/>
            <ac:grpSpMk id="20" creationId="{B1295725-A00F-8C4F-80FF-54FAC9DFDD24}"/>
          </ac:grpSpMkLst>
        </pc:grpChg>
        <pc:grpChg chg="add del mod">
          <ac:chgData name="Petro Petrashko (UA)" userId="5b2b3b98-3131-48c7-bb8a-19b196a36949" providerId="ADAL" clId="{351FE23D-61E3-4217-9757-ECF8C23312BF}" dt="2024-06-26T14:22:35.810" v="1075" actId="165"/>
          <ac:grpSpMkLst>
            <pc:docMk/>
            <pc:sldMk cId="1613844391" sldId="2147481992"/>
            <ac:grpSpMk id="21" creationId="{B5B684D4-53AE-4313-1A56-773A1DF44CF6}"/>
          </ac:grpSpMkLst>
        </pc:grpChg>
        <pc:grpChg chg="add del mod">
          <ac:chgData name="Petro Petrashko (UA)" userId="5b2b3b98-3131-48c7-bb8a-19b196a36949" providerId="ADAL" clId="{351FE23D-61E3-4217-9757-ECF8C23312BF}" dt="2024-06-26T14:22:35.810" v="1075" actId="165"/>
          <ac:grpSpMkLst>
            <pc:docMk/>
            <pc:sldMk cId="1613844391" sldId="2147481992"/>
            <ac:grpSpMk id="23" creationId="{F82398F2-F141-A03D-06AD-027CF7108A1A}"/>
          </ac:grpSpMkLst>
        </pc:grpChg>
        <pc:grpChg chg="add mod ord">
          <ac:chgData name="Petro Petrashko (UA)" userId="5b2b3b98-3131-48c7-bb8a-19b196a36949" providerId="ADAL" clId="{351FE23D-61E3-4217-9757-ECF8C23312BF}" dt="2024-06-26T14:32:57.947" v="1193"/>
          <ac:grpSpMkLst>
            <pc:docMk/>
            <pc:sldMk cId="1613844391" sldId="2147481992"/>
            <ac:grpSpMk id="26" creationId="{C8DC9E60-F11C-EA4B-558F-ED00903892E2}"/>
          </ac:grpSpMkLst>
        </pc:grpChg>
        <pc:grpChg chg="add mod ord">
          <ac:chgData name="Petro Petrashko (UA)" userId="5b2b3b98-3131-48c7-bb8a-19b196a36949" providerId="ADAL" clId="{351FE23D-61E3-4217-9757-ECF8C23312BF}" dt="2024-06-26T14:32:57.943" v="1191"/>
          <ac:grpSpMkLst>
            <pc:docMk/>
            <pc:sldMk cId="1613844391" sldId="2147481992"/>
            <ac:grpSpMk id="27" creationId="{68C236D8-4394-A551-F3CC-2D3105E22996}"/>
          </ac:grpSpMkLst>
        </pc:grpChg>
        <pc:grpChg chg="add mod ord">
          <ac:chgData name="Petro Petrashko (UA)" userId="5b2b3b98-3131-48c7-bb8a-19b196a36949" providerId="ADAL" clId="{351FE23D-61E3-4217-9757-ECF8C23312BF}" dt="2024-06-26T14:32:57.939" v="1189"/>
          <ac:grpSpMkLst>
            <pc:docMk/>
            <pc:sldMk cId="1613844391" sldId="2147481992"/>
            <ac:grpSpMk id="28" creationId="{BA6CD622-55A7-F1C5-610C-AD5D7AFA0841}"/>
          </ac:grpSpMkLst>
        </pc:grpChg>
        <pc:grpChg chg="del">
          <ac:chgData name="Petro Petrashko (UA)" userId="5b2b3b98-3131-48c7-bb8a-19b196a36949" providerId="ADAL" clId="{351FE23D-61E3-4217-9757-ECF8C23312BF}" dt="2024-06-26T11:57:00.841" v="102" actId="165"/>
          <ac:grpSpMkLst>
            <pc:docMk/>
            <pc:sldMk cId="1613844391" sldId="2147481992"/>
            <ac:grpSpMk id="49" creationId="{A482D425-5B0B-9A2F-02C7-08E27F5BFFFB}"/>
          </ac:grpSpMkLst>
        </pc:grpChg>
        <pc:grpChg chg="add del mod">
          <ac:chgData name="Petro Petrashko (UA)" userId="5b2b3b98-3131-48c7-bb8a-19b196a36949" providerId="ADAL" clId="{351FE23D-61E3-4217-9757-ECF8C23312BF}" dt="2024-06-26T11:56:52.652" v="67" actId="165"/>
          <ac:grpSpMkLst>
            <pc:docMk/>
            <pc:sldMk cId="1613844391" sldId="2147481992"/>
            <ac:grpSpMk id="64" creationId="{2E1FDDFA-802C-6C96-9594-E51519BE0D81}"/>
          </ac:grpSpMkLst>
        </pc:grpChg>
        <pc:grpChg chg="add del mod">
          <ac:chgData name="Petro Petrashko (UA)" userId="5b2b3b98-3131-48c7-bb8a-19b196a36949" providerId="ADAL" clId="{351FE23D-61E3-4217-9757-ECF8C23312BF}" dt="2024-06-26T11:56:52.652" v="67" actId="165"/>
          <ac:grpSpMkLst>
            <pc:docMk/>
            <pc:sldMk cId="1613844391" sldId="2147481992"/>
            <ac:grpSpMk id="65" creationId="{1143C589-2584-5B0A-CD84-5EE2A1C2FEFA}"/>
          </ac:grpSpMkLst>
        </pc:grpChg>
        <pc:grpChg chg="add del mod">
          <ac:chgData name="Petro Petrashko (UA)" userId="5b2b3b98-3131-48c7-bb8a-19b196a36949" providerId="ADAL" clId="{351FE23D-61E3-4217-9757-ECF8C23312BF}" dt="2024-06-26T11:56:52.652" v="67" actId="165"/>
          <ac:grpSpMkLst>
            <pc:docMk/>
            <pc:sldMk cId="1613844391" sldId="2147481992"/>
            <ac:grpSpMk id="66" creationId="{F3FBFA82-C076-4395-C7C9-873FD9BAFA64}"/>
          </ac:grpSpMkLst>
        </pc:grpChg>
        <pc:grpChg chg="add del mod">
          <ac:chgData name="Petro Petrashko (UA)" userId="5b2b3b98-3131-48c7-bb8a-19b196a36949" providerId="ADAL" clId="{351FE23D-61E3-4217-9757-ECF8C23312BF}" dt="2024-06-26T14:13:56.287" v="1015" actId="165"/>
          <ac:grpSpMkLst>
            <pc:docMk/>
            <pc:sldMk cId="1613844391" sldId="2147481992"/>
            <ac:grpSpMk id="68" creationId="{849A9751-B847-0989-693A-9E09CA7AD8E9}"/>
          </ac:grpSpMkLst>
        </pc:grpChg>
        <pc:grpChg chg="add del mod">
          <ac:chgData name="Petro Petrashko (UA)" userId="5b2b3b98-3131-48c7-bb8a-19b196a36949" providerId="ADAL" clId="{351FE23D-61E3-4217-9757-ECF8C23312BF}" dt="2024-06-26T14:13:56.287" v="1015" actId="165"/>
          <ac:grpSpMkLst>
            <pc:docMk/>
            <pc:sldMk cId="1613844391" sldId="2147481992"/>
            <ac:grpSpMk id="69" creationId="{BADBE707-DD3C-17B5-1354-D00A8D9A290B}"/>
          </ac:grpSpMkLst>
        </pc:grpChg>
        <pc:grpChg chg="add del mod">
          <ac:chgData name="Petro Petrashko (UA)" userId="5b2b3b98-3131-48c7-bb8a-19b196a36949" providerId="ADAL" clId="{351FE23D-61E3-4217-9757-ECF8C23312BF}" dt="2024-06-26T14:13:56.287" v="1015" actId="165"/>
          <ac:grpSpMkLst>
            <pc:docMk/>
            <pc:sldMk cId="1613844391" sldId="2147481992"/>
            <ac:grpSpMk id="70" creationId="{8575B7E4-930F-EDF1-C430-8333E5926C21}"/>
          </ac:grpSpMkLst>
        </pc:grpChg>
        <pc:graphicFrameChg chg="mod">
          <ac:chgData name="Petro Petrashko (UA)" userId="5b2b3b98-3131-48c7-bb8a-19b196a36949" providerId="ADAL" clId="{351FE23D-61E3-4217-9757-ECF8C23312BF}" dt="2024-06-26T14:32:57.989" v="1209"/>
          <ac:graphicFrameMkLst>
            <pc:docMk/>
            <pc:sldMk cId="1613844391" sldId="2147481992"/>
            <ac:graphicFrameMk id="91" creationId="{7AE41A81-5DA9-3D29-3038-84D54EDD521C}"/>
          </ac:graphicFrameMkLst>
        </pc:graphicFrameChg>
        <pc:picChg chg="add del mod modCrop">
          <ac:chgData name="Petro Petrashko (UA)" userId="5b2b3b98-3131-48c7-bb8a-19b196a36949" providerId="ADAL" clId="{351FE23D-61E3-4217-9757-ECF8C23312BF}" dt="2024-06-26T14:22:30.485" v="1074" actId="478"/>
          <ac:picMkLst>
            <pc:docMk/>
            <pc:sldMk cId="1613844391" sldId="2147481992"/>
            <ac:picMk id="25" creationId="{4EF57C5C-3F5C-7360-0510-3BFB9B62C815}"/>
          </ac:picMkLst>
        </pc:picChg>
        <pc:picChg chg="add del mod">
          <ac:chgData name="Petro Petrashko (UA)" userId="5b2b3b98-3131-48c7-bb8a-19b196a36949" providerId="ADAL" clId="{351FE23D-61E3-4217-9757-ECF8C23312BF}" dt="2024-06-26T14:24:26.522" v="1090" actId="478"/>
          <ac:picMkLst>
            <pc:docMk/>
            <pc:sldMk cId="1613844391" sldId="2147481992"/>
            <ac:picMk id="36" creationId="{132B200A-D7E3-B901-C7BD-44074DC7A4E1}"/>
          </ac:picMkLst>
        </pc:picChg>
        <pc:picChg chg="add mod ord modCrop">
          <ac:chgData name="Petro Petrashko (UA)" userId="5b2b3b98-3131-48c7-bb8a-19b196a36949" providerId="ADAL" clId="{351FE23D-61E3-4217-9757-ECF8C23312BF}" dt="2024-06-26T14:34:17.521" v="1214" actId="554"/>
          <ac:picMkLst>
            <pc:docMk/>
            <pc:sldMk cId="1613844391" sldId="2147481992"/>
            <ac:picMk id="40" creationId="{2D2E3D23-4999-3A28-DA9B-1944F1556C97}"/>
          </ac:picMkLst>
        </pc:picChg>
        <pc:picChg chg="add del mod">
          <ac:chgData name="Petro Petrashko (UA)" userId="5b2b3b98-3131-48c7-bb8a-19b196a36949" providerId="ADAL" clId="{351FE23D-61E3-4217-9757-ECF8C23312BF}" dt="2024-06-26T14:26:23.027" v="1101" actId="478"/>
          <ac:picMkLst>
            <pc:docMk/>
            <pc:sldMk cId="1613844391" sldId="2147481992"/>
            <ac:picMk id="42" creationId="{C87F265B-C93E-757B-1BAD-0041E74BE729}"/>
          </ac:picMkLst>
        </pc:picChg>
        <pc:picChg chg="add del mod">
          <ac:chgData name="Petro Petrashko (UA)" userId="5b2b3b98-3131-48c7-bb8a-19b196a36949" providerId="ADAL" clId="{351FE23D-61E3-4217-9757-ECF8C23312BF}" dt="2024-06-26T14:27:20.840" v="1110" actId="478"/>
          <ac:picMkLst>
            <pc:docMk/>
            <pc:sldMk cId="1613844391" sldId="2147481992"/>
            <ac:picMk id="45" creationId="{780C6B00-71DC-7F3F-0ABC-BE7090AC8EC3}"/>
          </ac:picMkLst>
        </pc:picChg>
        <pc:picChg chg="add del mod">
          <ac:chgData name="Petro Petrashko (UA)" userId="5b2b3b98-3131-48c7-bb8a-19b196a36949" providerId="ADAL" clId="{351FE23D-61E3-4217-9757-ECF8C23312BF}" dt="2024-06-26T14:27:14.058" v="1108" actId="478"/>
          <ac:picMkLst>
            <pc:docMk/>
            <pc:sldMk cId="1613844391" sldId="2147481992"/>
            <ac:picMk id="47" creationId="{4943E705-04AD-DB31-9445-072AF72EC3E0}"/>
          </ac:picMkLst>
        </pc:picChg>
        <pc:cxnChg chg="mod ord">
          <ac:chgData name="Petro Petrashko (UA)" userId="5b2b3b98-3131-48c7-bb8a-19b196a36949" providerId="ADAL" clId="{351FE23D-61E3-4217-9757-ECF8C23312BF}" dt="2024-06-26T14:32:57.925" v="1183"/>
          <ac:cxnSpMkLst>
            <pc:docMk/>
            <pc:sldMk cId="1613844391" sldId="2147481992"/>
            <ac:cxnSpMk id="7" creationId="{85F8FCFE-E283-8D8B-37C4-0FA2ACA85E09}"/>
          </ac:cxnSpMkLst>
        </pc:cxnChg>
        <pc:cxnChg chg="mod ord">
          <ac:chgData name="Petro Petrashko (UA)" userId="5b2b3b98-3131-48c7-bb8a-19b196a36949" providerId="ADAL" clId="{351FE23D-61E3-4217-9757-ECF8C23312BF}" dt="2024-06-26T14:32:57.925" v="1185"/>
          <ac:cxnSpMkLst>
            <pc:docMk/>
            <pc:sldMk cId="1613844391" sldId="2147481992"/>
            <ac:cxnSpMk id="9" creationId="{9CFE0F3B-C5B0-7452-E45A-25AF31FE7AE2}"/>
          </ac:cxnSpMkLst>
        </pc:cxnChg>
        <pc:cxnChg chg="mod ord">
          <ac:chgData name="Petro Petrashko (UA)" userId="5b2b3b98-3131-48c7-bb8a-19b196a36949" providerId="ADAL" clId="{351FE23D-61E3-4217-9757-ECF8C23312BF}" dt="2024-06-26T14:32:57.925" v="1187"/>
          <ac:cxnSpMkLst>
            <pc:docMk/>
            <pc:sldMk cId="1613844391" sldId="2147481992"/>
            <ac:cxnSpMk id="34" creationId="{41D157D9-7468-894F-DEA9-2F7AE6B374B7}"/>
          </ac:cxnSpMkLst>
        </pc:cxnChg>
        <pc:cxnChg chg="mod ord">
          <ac:chgData name="Petro Petrashko (UA)" userId="5b2b3b98-3131-48c7-bb8a-19b196a36949" providerId="ADAL" clId="{351FE23D-61E3-4217-9757-ECF8C23312BF}" dt="2024-06-26T14:32:57.949" v="1195"/>
          <ac:cxnSpMkLst>
            <pc:docMk/>
            <pc:sldMk cId="1613844391" sldId="2147481992"/>
            <ac:cxnSpMk id="60" creationId="{0E670D97-BF54-ADE1-4392-6BCFF22D34BA}"/>
          </ac:cxnSpMkLst>
        </pc:cxnChg>
      </pc:sldChg>
      <pc:sldChg chg="addSp delSp modSp mod chgLayout">
        <pc:chgData name="Petro Petrashko (UA)" userId="5b2b3b98-3131-48c7-bb8a-19b196a36949" providerId="ADAL" clId="{351FE23D-61E3-4217-9757-ECF8C23312BF}" dt="2024-06-26T14:11:06.397" v="811"/>
        <pc:sldMkLst>
          <pc:docMk/>
          <pc:sldMk cId="1791248831" sldId="2147482012"/>
        </pc:sldMkLst>
        <pc:spChg chg="mod ord">
          <ac:chgData name="Petro Petrashko (UA)" userId="5b2b3b98-3131-48c7-bb8a-19b196a36949" providerId="ADAL" clId="{351FE23D-61E3-4217-9757-ECF8C23312BF}" dt="2024-06-26T14:11:06.353" v="782" actId="948"/>
          <ac:spMkLst>
            <pc:docMk/>
            <pc:sldMk cId="1791248831" sldId="2147482012"/>
            <ac:spMk id="2" creationId="{EC47296D-9568-ED7D-0457-80174E2BF2F8}"/>
          </ac:spMkLst>
        </pc:spChg>
        <pc:spChg chg="add del mod">
          <ac:chgData name="Petro Petrashko (UA)" userId="5b2b3b98-3131-48c7-bb8a-19b196a36949" providerId="ADAL" clId="{351FE23D-61E3-4217-9757-ECF8C23312BF}" dt="2024-06-26T13:59:32.060" v="218" actId="478"/>
          <ac:spMkLst>
            <pc:docMk/>
            <pc:sldMk cId="1791248831" sldId="2147482012"/>
            <ac:spMk id="3" creationId="{178D1B7A-F641-BB34-052C-1B432EDD60AC}"/>
          </ac:spMkLst>
        </pc:spChg>
        <pc:spChg chg="add del mod modVis">
          <ac:chgData name="Petro Petrashko (UA)" userId="5b2b3b98-3131-48c7-bb8a-19b196a36949" providerId="ADAL" clId="{351FE23D-61E3-4217-9757-ECF8C23312BF}" dt="2024-06-26T14:01:55.285" v="433"/>
          <ac:spMkLst>
            <pc:docMk/>
            <pc:sldMk cId="1791248831" sldId="2147482012"/>
            <ac:spMk id="5" creationId="{21847100-68FB-2D9E-1496-CBC36046075D}"/>
          </ac:spMkLst>
        </pc:spChg>
        <pc:spChg chg="add del mod">
          <ac:chgData name="Petro Petrashko (UA)" userId="5b2b3b98-3131-48c7-bb8a-19b196a36949" providerId="ADAL" clId="{351FE23D-61E3-4217-9757-ECF8C23312BF}" dt="2024-06-26T14:10:30.995" v="679" actId="6264"/>
          <ac:spMkLst>
            <pc:docMk/>
            <pc:sldMk cId="1791248831" sldId="2147482012"/>
            <ac:spMk id="7" creationId="{4267DC6E-AB0C-E0EE-4EFC-A5F97CE60FAA}"/>
          </ac:spMkLst>
        </pc:spChg>
        <pc:spChg chg="add del mod">
          <ac:chgData name="Petro Petrashko (UA)" userId="5b2b3b98-3131-48c7-bb8a-19b196a36949" providerId="ADAL" clId="{351FE23D-61E3-4217-9757-ECF8C23312BF}" dt="2024-06-26T14:10:30.995" v="679" actId="6264"/>
          <ac:spMkLst>
            <pc:docMk/>
            <pc:sldMk cId="1791248831" sldId="2147482012"/>
            <ac:spMk id="13" creationId="{F48275D7-6768-FCCA-C0AE-31F846BA48AA}"/>
          </ac:spMkLst>
        </pc:spChg>
        <pc:spChg chg="add del mod modVis">
          <ac:chgData name="Petro Petrashko (UA)" userId="5b2b3b98-3131-48c7-bb8a-19b196a36949" providerId="ADAL" clId="{351FE23D-61E3-4217-9757-ECF8C23312BF}" dt="2024-06-26T14:10:31.827" v="734" actId="962"/>
          <ac:spMkLst>
            <pc:docMk/>
            <pc:sldMk cId="1791248831" sldId="2147482012"/>
            <ac:spMk id="14" creationId="{CA8389E6-74CE-333C-2237-8488D3EA6E08}"/>
          </ac:spMkLst>
        </pc:spChg>
        <pc:spChg chg="add del mod modVis">
          <ac:chgData name="Petro Petrashko (UA)" userId="5b2b3b98-3131-48c7-bb8a-19b196a36949" providerId="ADAL" clId="{351FE23D-61E3-4217-9757-ECF8C23312BF}" dt="2024-06-26T14:10:54.845" v="773"/>
          <ac:spMkLst>
            <pc:docMk/>
            <pc:sldMk cId="1791248831" sldId="2147482012"/>
            <ac:spMk id="15" creationId="{994F32D7-F25D-A36F-A96D-25D3037E5333}"/>
          </ac:spMkLst>
        </pc:spChg>
        <pc:spChg chg="add del mod modVis">
          <ac:chgData name="Petro Petrashko (UA)" userId="5b2b3b98-3131-48c7-bb8a-19b196a36949" providerId="ADAL" clId="{351FE23D-61E3-4217-9757-ECF8C23312BF}" dt="2024-06-26T14:11:06.393" v="809"/>
          <ac:spMkLst>
            <pc:docMk/>
            <pc:sldMk cId="1791248831" sldId="2147482012"/>
            <ac:spMk id="16" creationId="{F2237C6F-665F-4065-62FD-52DB408F29D1}"/>
          </ac:spMkLst>
        </pc:spChg>
        <pc:spChg chg="mod">
          <ac:chgData name="Petro Petrashko (UA)" userId="5b2b3b98-3131-48c7-bb8a-19b196a36949" providerId="ADAL" clId="{351FE23D-61E3-4217-9757-ECF8C23312BF}" dt="2024-06-26T14:00:07.169" v="288" actId="164"/>
          <ac:spMkLst>
            <pc:docMk/>
            <pc:sldMk cId="1791248831" sldId="2147482012"/>
            <ac:spMk id="37" creationId="{7795EDCD-A1E3-81BC-D6E4-B8FD957AD217}"/>
          </ac:spMkLst>
        </pc:spChg>
        <pc:spChg chg="mod">
          <ac:chgData name="Petro Petrashko (UA)" userId="5b2b3b98-3131-48c7-bb8a-19b196a36949" providerId="ADAL" clId="{351FE23D-61E3-4217-9757-ECF8C23312BF}" dt="2024-06-26T14:00:07.169" v="288" actId="164"/>
          <ac:spMkLst>
            <pc:docMk/>
            <pc:sldMk cId="1791248831" sldId="2147482012"/>
            <ac:spMk id="38" creationId="{B7F4C205-C186-DA71-F54C-8E2254F0C2E9}"/>
          </ac:spMkLst>
        </pc:spChg>
        <pc:spChg chg="mod">
          <ac:chgData name="Petro Petrashko (UA)" userId="5b2b3b98-3131-48c7-bb8a-19b196a36949" providerId="ADAL" clId="{351FE23D-61E3-4217-9757-ECF8C23312BF}" dt="2024-06-26T14:01:54.661" v="405" actId="552"/>
          <ac:spMkLst>
            <pc:docMk/>
            <pc:sldMk cId="1791248831" sldId="2147482012"/>
            <ac:spMk id="68" creationId="{DC58C25F-8110-0C29-4A50-5DADA78B621C}"/>
          </ac:spMkLst>
        </pc:spChg>
        <pc:spChg chg="mod">
          <ac:chgData name="Petro Petrashko (UA)" userId="5b2b3b98-3131-48c7-bb8a-19b196a36949" providerId="ADAL" clId="{351FE23D-61E3-4217-9757-ECF8C23312BF}" dt="2024-06-26T14:00:07.169" v="288" actId="164"/>
          <ac:spMkLst>
            <pc:docMk/>
            <pc:sldMk cId="1791248831" sldId="2147482012"/>
            <ac:spMk id="78" creationId="{C5C3D0C6-9AE4-2D85-F716-35A1E082CF03}"/>
          </ac:spMkLst>
        </pc:spChg>
        <pc:spChg chg="mod">
          <ac:chgData name="Petro Petrashko (UA)" userId="5b2b3b98-3131-48c7-bb8a-19b196a36949" providerId="ADAL" clId="{351FE23D-61E3-4217-9757-ECF8C23312BF}" dt="2024-06-26T14:00:07.169" v="288" actId="164"/>
          <ac:spMkLst>
            <pc:docMk/>
            <pc:sldMk cId="1791248831" sldId="2147482012"/>
            <ac:spMk id="81" creationId="{194ED9A6-B5C3-ED3F-4C21-CA96CC3CE39E}"/>
          </ac:spMkLst>
        </pc:spChg>
        <pc:spChg chg="mod">
          <ac:chgData name="Petro Petrashko (UA)" userId="5b2b3b98-3131-48c7-bb8a-19b196a36949" providerId="ADAL" clId="{351FE23D-61E3-4217-9757-ECF8C23312BF}" dt="2024-06-26T14:00:07.169" v="288" actId="164"/>
          <ac:spMkLst>
            <pc:docMk/>
            <pc:sldMk cId="1791248831" sldId="2147482012"/>
            <ac:spMk id="82" creationId="{48434C7A-DD1B-41BC-9A26-100219A14BCB}"/>
          </ac:spMkLst>
        </pc:spChg>
        <pc:spChg chg="mod">
          <ac:chgData name="Petro Petrashko (UA)" userId="5b2b3b98-3131-48c7-bb8a-19b196a36949" providerId="ADAL" clId="{351FE23D-61E3-4217-9757-ECF8C23312BF}" dt="2024-06-26T14:00:07.169" v="288" actId="164"/>
          <ac:spMkLst>
            <pc:docMk/>
            <pc:sldMk cId="1791248831" sldId="2147482012"/>
            <ac:spMk id="85" creationId="{C814D90B-57A8-75C9-D698-489E6EE36C26}"/>
          </ac:spMkLst>
        </pc:spChg>
        <pc:spChg chg="mod">
          <ac:chgData name="Petro Petrashko (UA)" userId="5b2b3b98-3131-48c7-bb8a-19b196a36949" providerId="ADAL" clId="{351FE23D-61E3-4217-9757-ECF8C23312BF}" dt="2024-06-26T14:00:07.169" v="288" actId="164"/>
          <ac:spMkLst>
            <pc:docMk/>
            <pc:sldMk cId="1791248831" sldId="2147482012"/>
            <ac:spMk id="86" creationId="{9D762416-B8CD-9A4F-18FB-8F0F5E76000A}"/>
          </ac:spMkLst>
        </pc:spChg>
        <pc:spChg chg="mod">
          <ac:chgData name="Petro Petrashko (UA)" userId="5b2b3b98-3131-48c7-bb8a-19b196a36949" providerId="ADAL" clId="{351FE23D-61E3-4217-9757-ECF8C23312BF}" dt="2024-06-26T14:00:07.169" v="288" actId="164"/>
          <ac:spMkLst>
            <pc:docMk/>
            <pc:sldMk cId="1791248831" sldId="2147482012"/>
            <ac:spMk id="87" creationId="{8C6339FB-5EFB-D117-4D8C-E3D762D8DA58}"/>
          </ac:spMkLst>
        </pc:spChg>
        <pc:spChg chg="mod ord">
          <ac:chgData name="Petro Petrashko (UA)" userId="5b2b3b98-3131-48c7-bb8a-19b196a36949" providerId="ADAL" clId="{351FE23D-61E3-4217-9757-ECF8C23312BF}" dt="2024-06-26T14:10:30.995" v="679" actId="6264"/>
          <ac:spMkLst>
            <pc:docMk/>
            <pc:sldMk cId="1791248831" sldId="2147482012"/>
            <ac:spMk id="97" creationId="{8FF7DDF1-7E6A-F978-68B7-8269C3B570E1}"/>
          </ac:spMkLst>
        </pc:spChg>
        <pc:spChg chg="mod">
          <ac:chgData name="Petro Petrashko (UA)" userId="5b2b3b98-3131-48c7-bb8a-19b196a36949" providerId="ADAL" clId="{351FE23D-61E3-4217-9757-ECF8C23312BF}" dt="2024-06-26T14:00:07.169" v="288" actId="164"/>
          <ac:spMkLst>
            <pc:docMk/>
            <pc:sldMk cId="1791248831" sldId="2147482012"/>
            <ac:spMk id="101" creationId="{6EEB4BCC-C79A-22FA-6284-FF283E0F0395}"/>
          </ac:spMkLst>
        </pc:spChg>
        <pc:spChg chg="mod">
          <ac:chgData name="Petro Petrashko (UA)" userId="5b2b3b98-3131-48c7-bb8a-19b196a36949" providerId="ADAL" clId="{351FE23D-61E3-4217-9757-ECF8C23312BF}" dt="2024-06-26T14:00:07.169" v="288" actId="164"/>
          <ac:spMkLst>
            <pc:docMk/>
            <pc:sldMk cId="1791248831" sldId="2147482012"/>
            <ac:spMk id="102" creationId="{A2DB71BE-A99E-9EF8-8B88-2D025550C73F}"/>
          </ac:spMkLst>
        </pc:spChg>
        <pc:spChg chg="mod">
          <ac:chgData name="Petro Petrashko (UA)" userId="5b2b3b98-3131-48c7-bb8a-19b196a36949" providerId="ADAL" clId="{351FE23D-61E3-4217-9757-ECF8C23312BF}" dt="2024-06-26T14:00:07.169" v="288" actId="164"/>
          <ac:spMkLst>
            <pc:docMk/>
            <pc:sldMk cId="1791248831" sldId="2147482012"/>
            <ac:spMk id="103" creationId="{5DEC1747-94D0-C2FE-BE82-692FD20415CA}"/>
          </ac:spMkLst>
        </pc:spChg>
        <pc:spChg chg="mod">
          <ac:chgData name="Petro Petrashko (UA)" userId="5b2b3b98-3131-48c7-bb8a-19b196a36949" providerId="ADAL" clId="{351FE23D-61E3-4217-9757-ECF8C23312BF}" dt="2024-06-26T14:00:07.169" v="288" actId="164"/>
          <ac:spMkLst>
            <pc:docMk/>
            <pc:sldMk cId="1791248831" sldId="2147482012"/>
            <ac:spMk id="104" creationId="{D2925E93-E683-0A91-B81F-B1C979776110}"/>
          </ac:spMkLst>
        </pc:spChg>
        <pc:grpChg chg="add mod">
          <ac:chgData name="Petro Petrashko (UA)" userId="5b2b3b98-3131-48c7-bb8a-19b196a36949" providerId="ADAL" clId="{351FE23D-61E3-4217-9757-ECF8C23312BF}" dt="2024-06-26T14:00:07.169" v="288" actId="164"/>
          <ac:grpSpMkLst>
            <pc:docMk/>
            <pc:sldMk cId="1791248831" sldId="2147482012"/>
            <ac:grpSpMk id="4" creationId="{8373477E-7F9D-3DD8-78B7-5B69B6EA97A3}"/>
          </ac:grpSpMkLst>
        </pc:grpChg>
        <pc:grpChg chg="mod">
          <ac:chgData name="Petro Petrashko (UA)" userId="5b2b3b98-3131-48c7-bb8a-19b196a36949" providerId="ADAL" clId="{351FE23D-61E3-4217-9757-ECF8C23312BF}" dt="2024-06-26T14:11:05.837" v="781" actId="552"/>
          <ac:grpSpMkLst>
            <pc:docMk/>
            <pc:sldMk cId="1791248831" sldId="2147482012"/>
            <ac:grpSpMk id="124" creationId="{22B6A670-1167-6234-3E64-FBCDAC877C22}"/>
          </ac:grpSpMkLst>
        </pc:grpChg>
        <pc:grpChg chg="mod">
          <ac:chgData name="Petro Petrashko (UA)" userId="5b2b3b98-3131-48c7-bb8a-19b196a36949" providerId="ADAL" clId="{351FE23D-61E3-4217-9757-ECF8C23312BF}" dt="2024-06-26T14:11:05.837" v="781" actId="552"/>
          <ac:grpSpMkLst>
            <pc:docMk/>
            <pc:sldMk cId="1791248831" sldId="2147482012"/>
            <ac:grpSpMk id="125" creationId="{4387D8E0-B165-2634-3E99-8098AC5D0AAE}"/>
          </ac:grpSpMkLst>
        </pc:grpChg>
        <pc:grpChg chg="mod">
          <ac:chgData name="Petro Petrashko (UA)" userId="5b2b3b98-3131-48c7-bb8a-19b196a36949" providerId="ADAL" clId="{351FE23D-61E3-4217-9757-ECF8C23312BF}" dt="2024-06-26T14:11:05.837" v="781" actId="552"/>
          <ac:grpSpMkLst>
            <pc:docMk/>
            <pc:sldMk cId="1791248831" sldId="2147482012"/>
            <ac:grpSpMk id="126" creationId="{25B24E43-5F6C-2205-6F27-C9A8304F80E4}"/>
          </ac:grpSpMkLst>
        </pc:grpChg>
        <pc:grpChg chg="mod">
          <ac:chgData name="Petro Petrashko (UA)" userId="5b2b3b98-3131-48c7-bb8a-19b196a36949" providerId="ADAL" clId="{351FE23D-61E3-4217-9757-ECF8C23312BF}" dt="2024-06-26T14:11:05.837" v="781" actId="552"/>
          <ac:grpSpMkLst>
            <pc:docMk/>
            <pc:sldMk cId="1791248831" sldId="2147482012"/>
            <ac:grpSpMk id="127" creationId="{A9187C67-83D0-9053-644E-EA9705E689B3}"/>
          </ac:grpSpMkLst>
        </pc:grpChg>
        <pc:grpChg chg="mod">
          <ac:chgData name="Petro Petrashko (UA)" userId="5b2b3b98-3131-48c7-bb8a-19b196a36949" providerId="ADAL" clId="{351FE23D-61E3-4217-9757-ECF8C23312BF}" dt="2024-06-26T14:11:05.837" v="781" actId="552"/>
          <ac:grpSpMkLst>
            <pc:docMk/>
            <pc:sldMk cId="1791248831" sldId="2147482012"/>
            <ac:grpSpMk id="128" creationId="{7EA9234F-4081-9D78-360F-4BB6F2EDDCBE}"/>
          </ac:grpSpMkLst>
        </pc:grpChg>
        <pc:grpChg chg="mod">
          <ac:chgData name="Petro Petrashko (UA)" userId="5b2b3b98-3131-48c7-bb8a-19b196a36949" providerId="ADAL" clId="{351FE23D-61E3-4217-9757-ECF8C23312BF}" dt="2024-06-26T14:11:05.837" v="781" actId="552"/>
          <ac:grpSpMkLst>
            <pc:docMk/>
            <pc:sldMk cId="1791248831" sldId="2147482012"/>
            <ac:grpSpMk id="129" creationId="{3A1FB8DB-BEBA-9531-B60F-20C3F132CF2F}"/>
          </ac:grpSpMkLst>
        </pc:grpChg>
        <pc:graphicFrameChg chg="add mod ord modVis replST">
          <ac:chgData name="Petro Petrashko (UA)" userId="5b2b3b98-3131-48c7-bb8a-19b196a36949" providerId="ADAL" clId="{351FE23D-61E3-4217-9757-ECF8C23312BF}" dt="2024-06-26T14:11:06.397" v="811"/>
          <ac:graphicFrameMkLst>
            <pc:docMk/>
            <pc:sldMk cId="1791248831" sldId="2147482012"/>
            <ac:graphicFrameMk id="6" creationId="{8A8E461D-4824-21A5-8141-DE3D04012D10}"/>
          </ac:graphicFrameMkLst>
        </pc:graphicFrameChg>
      </pc:sldChg>
      <pc:sldChg chg="addSp delSp modSp mod">
        <pc:chgData name="Petro Petrashko (UA)" userId="5b2b3b98-3131-48c7-bb8a-19b196a36949" providerId="ADAL" clId="{351FE23D-61E3-4217-9757-ECF8C23312BF}" dt="2024-06-26T14:11:19.666" v="861" actId="165"/>
        <pc:sldMkLst>
          <pc:docMk/>
          <pc:sldMk cId="544519598" sldId="2147482017"/>
        </pc:sldMkLst>
        <pc:spChg chg="mod">
          <ac:chgData name="Petro Petrashko (UA)" userId="5b2b3b98-3131-48c7-bb8a-19b196a36949" providerId="ADAL" clId="{351FE23D-61E3-4217-9757-ECF8C23312BF}" dt="2024-06-26T14:11:18.590" v="818" actId="948"/>
          <ac:spMkLst>
            <pc:docMk/>
            <pc:sldMk cId="544519598" sldId="2147482017"/>
            <ac:spMk id="2" creationId="{EC47296D-9568-ED7D-0457-80174E2BF2F8}"/>
          </ac:spMkLst>
        </pc:spChg>
        <pc:spChg chg="mod topLvl">
          <ac:chgData name="Petro Petrashko (UA)" userId="5b2b3b98-3131-48c7-bb8a-19b196a36949" providerId="ADAL" clId="{351FE23D-61E3-4217-9757-ECF8C23312BF}" dt="2024-06-26T14:11:19.666" v="861" actId="165"/>
          <ac:spMkLst>
            <pc:docMk/>
            <pc:sldMk cId="544519598" sldId="2147482017"/>
            <ac:spMk id="6" creationId="{3680DECF-EC3E-375C-9E9E-1348C2762FB8}"/>
          </ac:spMkLst>
        </pc:spChg>
        <pc:spChg chg="mod topLvl">
          <ac:chgData name="Petro Petrashko (UA)" userId="5b2b3b98-3131-48c7-bb8a-19b196a36949" providerId="ADAL" clId="{351FE23D-61E3-4217-9757-ECF8C23312BF}" dt="2024-06-26T14:11:19.666" v="861" actId="165"/>
          <ac:spMkLst>
            <pc:docMk/>
            <pc:sldMk cId="544519598" sldId="2147482017"/>
            <ac:spMk id="7" creationId="{CC3C3FD8-EBFA-CAFD-4FCC-7724B90AD1E5}"/>
          </ac:spMkLst>
        </pc:spChg>
        <pc:spChg chg="mod">
          <ac:chgData name="Petro Petrashko (UA)" userId="5b2b3b98-3131-48c7-bb8a-19b196a36949" providerId="ADAL" clId="{351FE23D-61E3-4217-9757-ECF8C23312BF}" dt="2024-06-26T14:02:48.738" v="462"/>
          <ac:spMkLst>
            <pc:docMk/>
            <pc:sldMk cId="544519598" sldId="2147482017"/>
            <ac:spMk id="8" creationId="{534114EE-3D2C-604A-7E21-92B55CD26F09}"/>
          </ac:spMkLst>
        </pc:spChg>
        <pc:spChg chg="mod topLvl">
          <ac:chgData name="Petro Petrashko (UA)" userId="5b2b3b98-3131-48c7-bb8a-19b196a36949" providerId="ADAL" clId="{351FE23D-61E3-4217-9757-ECF8C23312BF}" dt="2024-06-26T14:11:19.666" v="861" actId="165"/>
          <ac:spMkLst>
            <pc:docMk/>
            <pc:sldMk cId="544519598" sldId="2147482017"/>
            <ac:spMk id="9" creationId="{9EBB1D1E-6449-913E-E858-C48CC79A35B7}"/>
          </ac:spMkLst>
        </pc:spChg>
        <pc:spChg chg="mod topLvl">
          <ac:chgData name="Petro Petrashko (UA)" userId="5b2b3b98-3131-48c7-bb8a-19b196a36949" providerId="ADAL" clId="{351FE23D-61E3-4217-9757-ECF8C23312BF}" dt="2024-06-26T14:11:19.666" v="861" actId="165"/>
          <ac:spMkLst>
            <pc:docMk/>
            <pc:sldMk cId="544519598" sldId="2147482017"/>
            <ac:spMk id="11" creationId="{2699A53A-B3BD-81F5-62B1-E1AFB84CBAF9}"/>
          </ac:spMkLst>
        </pc:spChg>
        <pc:spChg chg="mod topLvl">
          <ac:chgData name="Petro Petrashko (UA)" userId="5b2b3b98-3131-48c7-bb8a-19b196a36949" providerId="ADAL" clId="{351FE23D-61E3-4217-9757-ECF8C23312BF}" dt="2024-06-26T14:11:19.666" v="861" actId="165"/>
          <ac:spMkLst>
            <pc:docMk/>
            <pc:sldMk cId="544519598" sldId="2147482017"/>
            <ac:spMk id="12" creationId="{EEEC8714-4554-535F-5536-4371C6F9A1BA}"/>
          </ac:spMkLst>
        </pc:spChg>
        <pc:spChg chg="mod topLvl">
          <ac:chgData name="Petro Petrashko (UA)" userId="5b2b3b98-3131-48c7-bb8a-19b196a36949" providerId="ADAL" clId="{351FE23D-61E3-4217-9757-ECF8C23312BF}" dt="2024-06-26T14:11:19.666" v="861" actId="165"/>
          <ac:spMkLst>
            <pc:docMk/>
            <pc:sldMk cId="544519598" sldId="2147482017"/>
            <ac:spMk id="13" creationId="{3F193BB6-564F-7ED4-20BE-73BF54343CE7}"/>
          </ac:spMkLst>
        </pc:spChg>
        <pc:spChg chg="mod topLvl">
          <ac:chgData name="Petro Petrashko (UA)" userId="5b2b3b98-3131-48c7-bb8a-19b196a36949" providerId="ADAL" clId="{351FE23D-61E3-4217-9757-ECF8C23312BF}" dt="2024-06-26T14:04:36.212" v="500" actId="165"/>
          <ac:spMkLst>
            <pc:docMk/>
            <pc:sldMk cId="544519598" sldId="2147482017"/>
            <ac:spMk id="14" creationId="{4B888F26-7D1A-CA27-B5A8-6248A7263371}"/>
          </ac:spMkLst>
        </pc:spChg>
        <pc:spChg chg="mod topLvl">
          <ac:chgData name="Petro Petrashko (UA)" userId="5b2b3b98-3131-48c7-bb8a-19b196a36949" providerId="ADAL" clId="{351FE23D-61E3-4217-9757-ECF8C23312BF}" dt="2024-06-26T14:11:19.666" v="861" actId="165"/>
          <ac:spMkLst>
            <pc:docMk/>
            <pc:sldMk cId="544519598" sldId="2147482017"/>
            <ac:spMk id="15" creationId="{9E0E0D22-42F4-802B-FD44-EDC127F0142C}"/>
          </ac:spMkLst>
        </pc:spChg>
        <pc:spChg chg="mod topLvl">
          <ac:chgData name="Petro Petrashko (UA)" userId="5b2b3b98-3131-48c7-bb8a-19b196a36949" providerId="ADAL" clId="{351FE23D-61E3-4217-9757-ECF8C23312BF}" dt="2024-06-26T14:11:19.666" v="861" actId="165"/>
          <ac:spMkLst>
            <pc:docMk/>
            <pc:sldMk cId="544519598" sldId="2147482017"/>
            <ac:spMk id="16" creationId="{DE200739-7B25-E26F-EE8E-B08BBC35C608}"/>
          </ac:spMkLst>
        </pc:spChg>
        <pc:spChg chg="mod topLvl">
          <ac:chgData name="Petro Petrashko (UA)" userId="5b2b3b98-3131-48c7-bb8a-19b196a36949" providerId="ADAL" clId="{351FE23D-61E3-4217-9757-ECF8C23312BF}" dt="2024-06-26T14:04:36.212" v="500" actId="165"/>
          <ac:spMkLst>
            <pc:docMk/>
            <pc:sldMk cId="544519598" sldId="2147482017"/>
            <ac:spMk id="18" creationId="{257A3C35-39C9-A4E6-1837-31F170B2C97A}"/>
          </ac:spMkLst>
        </pc:spChg>
        <pc:spChg chg="mod topLvl">
          <ac:chgData name="Petro Petrashko (UA)" userId="5b2b3b98-3131-48c7-bb8a-19b196a36949" providerId="ADAL" clId="{351FE23D-61E3-4217-9757-ECF8C23312BF}" dt="2024-06-26T14:11:19.666" v="861" actId="165"/>
          <ac:spMkLst>
            <pc:docMk/>
            <pc:sldMk cId="544519598" sldId="2147482017"/>
            <ac:spMk id="19" creationId="{07531D68-F37F-8804-2790-05DE03E569AC}"/>
          </ac:spMkLst>
        </pc:spChg>
        <pc:spChg chg="mod topLvl">
          <ac:chgData name="Petro Petrashko (UA)" userId="5b2b3b98-3131-48c7-bb8a-19b196a36949" providerId="ADAL" clId="{351FE23D-61E3-4217-9757-ECF8C23312BF}" dt="2024-06-26T14:04:36.212" v="500" actId="165"/>
          <ac:spMkLst>
            <pc:docMk/>
            <pc:sldMk cId="544519598" sldId="2147482017"/>
            <ac:spMk id="22" creationId="{BDC99A0B-8AB3-4918-5B31-2F9C4926A28C}"/>
          </ac:spMkLst>
        </pc:spChg>
        <pc:spChg chg="mod topLvl">
          <ac:chgData name="Petro Petrashko (UA)" userId="5b2b3b98-3131-48c7-bb8a-19b196a36949" providerId="ADAL" clId="{351FE23D-61E3-4217-9757-ECF8C23312BF}" dt="2024-06-26T14:11:19.666" v="861" actId="165"/>
          <ac:spMkLst>
            <pc:docMk/>
            <pc:sldMk cId="544519598" sldId="2147482017"/>
            <ac:spMk id="23" creationId="{C79FE495-3705-FC56-C46F-7F38DBD9F9A7}"/>
          </ac:spMkLst>
        </pc:spChg>
        <pc:spChg chg="mod topLvl">
          <ac:chgData name="Petro Petrashko (UA)" userId="5b2b3b98-3131-48c7-bb8a-19b196a36949" providerId="ADAL" clId="{351FE23D-61E3-4217-9757-ECF8C23312BF}" dt="2024-06-26T14:04:36.212" v="500" actId="165"/>
          <ac:spMkLst>
            <pc:docMk/>
            <pc:sldMk cId="544519598" sldId="2147482017"/>
            <ac:spMk id="24" creationId="{09C2CCCC-B4A3-9533-7C1A-4E7B99F19AB0}"/>
          </ac:spMkLst>
        </pc:spChg>
        <pc:spChg chg="mod topLvl">
          <ac:chgData name="Petro Petrashko (UA)" userId="5b2b3b98-3131-48c7-bb8a-19b196a36949" providerId="ADAL" clId="{351FE23D-61E3-4217-9757-ECF8C23312BF}" dt="2024-06-26T14:11:19.666" v="861" actId="165"/>
          <ac:spMkLst>
            <pc:docMk/>
            <pc:sldMk cId="544519598" sldId="2147482017"/>
            <ac:spMk id="26" creationId="{F0CB5772-83FD-A70A-A885-67FCEEE49754}"/>
          </ac:spMkLst>
        </pc:spChg>
        <pc:spChg chg="mod topLvl">
          <ac:chgData name="Petro Petrashko (UA)" userId="5b2b3b98-3131-48c7-bb8a-19b196a36949" providerId="ADAL" clId="{351FE23D-61E3-4217-9757-ECF8C23312BF}" dt="2024-06-26T14:04:36.212" v="500" actId="165"/>
          <ac:spMkLst>
            <pc:docMk/>
            <pc:sldMk cId="544519598" sldId="2147482017"/>
            <ac:spMk id="32" creationId="{642FDFF0-C1EF-2DFC-03F4-C85494893547}"/>
          </ac:spMkLst>
        </pc:spChg>
        <pc:spChg chg="mod">
          <ac:chgData name="Petro Petrashko (UA)" userId="5b2b3b98-3131-48c7-bb8a-19b196a36949" providerId="ADAL" clId="{351FE23D-61E3-4217-9757-ECF8C23312BF}" dt="2024-06-26T14:02:48.738" v="462"/>
          <ac:spMkLst>
            <pc:docMk/>
            <pc:sldMk cId="544519598" sldId="2147482017"/>
            <ac:spMk id="33" creationId="{F057CCBB-6123-1B04-F379-10F38A6528F7}"/>
          </ac:spMkLst>
        </pc:spChg>
        <pc:spChg chg="mod topLvl">
          <ac:chgData name="Petro Petrashko (UA)" userId="5b2b3b98-3131-48c7-bb8a-19b196a36949" providerId="ADAL" clId="{351FE23D-61E3-4217-9757-ECF8C23312BF}" dt="2024-06-26T14:11:19.666" v="861" actId="165"/>
          <ac:spMkLst>
            <pc:docMk/>
            <pc:sldMk cId="544519598" sldId="2147482017"/>
            <ac:spMk id="34" creationId="{31E65DFA-47A0-4AD8-6B27-3C86CFB7284A}"/>
          </ac:spMkLst>
        </pc:spChg>
        <pc:spChg chg="mod topLvl">
          <ac:chgData name="Petro Petrashko (UA)" userId="5b2b3b98-3131-48c7-bb8a-19b196a36949" providerId="ADAL" clId="{351FE23D-61E3-4217-9757-ECF8C23312BF}" dt="2024-06-26T14:04:36.212" v="500" actId="165"/>
          <ac:spMkLst>
            <pc:docMk/>
            <pc:sldMk cId="544519598" sldId="2147482017"/>
            <ac:spMk id="35" creationId="{195A68F4-D954-A1C0-A647-42A436D9BC2B}"/>
          </ac:spMkLst>
        </pc:spChg>
        <pc:spChg chg="mod topLvl">
          <ac:chgData name="Petro Petrashko (UA)" userId="5b2b3b98-3131-48c7-bb8a-19b196a36949" providerId="ADAL" clId="{351FE23D-61E3-4217-9757-ECF8C23312BF}" dt="2024-06-26T14:04:36.212" v="500" actId="165"/>
          <ac:spMkLst>
            <pc:docMk/>
            <pc:sldMk cId="544519598" sldId="2147482017"/>
            <ac:spMk id="36" creationId="{3C145E88-345E-DEB9-9ABA-4CC30EEE55EB}"/>
          </ac:spMkLst>
        </pc:spChg>
        <pc:spChg chg="mod">
          <ac:chgData name="Petro Petrashko (UA)" userId="5b2b3b98-3131-48c7-bb8a-19b196a36949" providerId="ADAL" clId="{351FE23D-61E3-4217-9757-ECF8C23312BF}" dt="2024-06-26T14:04:31.256" v="498"/>
          <ac:spMkLst>
            <pc:docMk/>
            <pc:sldMk cId="544519598" sldId="2147482017"/>
            <ac:spMk id="46" creationId="{61055370-7332-D53E-18E8-184891B8C542}"/>
          </ac:spMkLst>
        </pc:spChg>
        <pc:spChg chg="mod topLvl">
          <ac:chgData name="Petro Petrashko (UA)" userId="5b2b3b98-3131-48c7-bb8a-19b196a36949" providerId="ADAL" clId="{351FE23D-61E3-4217-9757-ECF8C23312BF}" dt="2024-06-26T14:11:19.666" v="861" actId="165"/>
          <ac:spMkLst>
            <pc:docMk/>
            <pc:sldMk cId="544519598" sldId="2147482017"/>
            <ac:spMk id="47" creationId="{DE28A1F8-05E1-2D2E-5F4B-FFE030D33C0D}"/>
          </ac:spMkLst>
        </pc:spChg>
        <pc:spChg chg="mod">
          <ac:chgData name="Petro Petrashko (UA)" userId="5b2b3b98-3131-48c7-bb8a-19b196a36949" providerId="ADAL" clId="{351FE23D-61E3-4217-9757-ECF8C23312BF}" dt="2024-06-26T14:04:31.256" v="498"/>
          <ac:spMkLst>
            <pc:docMk/>
            <pc:sldMk cId="544519598" sldId="2147482017"/>
            <ac:spMk id="48" creationId="{4DB82225-AAA2-C992-BF5F-FD38AE5CA35A}"/>
          </ac:spMkLst>
        </pc:spChg>
        <pc:spChg chg="mod topLvl">
          <ac:chgData name="Petro Petrashko (UA)" userId="5b2b3b98-3131-48c7-bb8a-19b196a36949" providerId="ADAL" clId="{351FE23D-61E3-4217-9757-ECF8C23312BF}" dt="2024-06-26T14:11:19.666" v="861" actId="165"/>
          <ac:spMkLst>
            <pc:docMk/>
            <pc:sldMk cId="544519598" sldId="2147482017"/>
            <ac:spMk id="51" creationId="{459753F3-41F3-63B5-45E4-F3B58708C5B6}"/>
          </ac:spMkLst>
        </pc:spChg>
        <pc:spChg chg="add del mod modVis">
          <ac:chgData name="Petro Petrashko (UA)" userId="5b2b3b98-3131-48c7-bb8a-19b196a36949" providerId="ADAL" clId="{351FE23D-61E3-4217-9757-ECF8C23312BF}" dt="2024-06-26T14:11:18.631" v="845"/>
          <ac:spMkLst>
            <pc:docMk/>
            <pc:sldMk cId="544519598" sldId="2147482017"/>
            <ac:spMk id="53" creationId="{B184F35D-64B9-5686-CDD1-7485FA986907}"/>
          </ac:spMkLst>
        </pc:spChg>
        <pc:grpChg chg="add del mod">
          <ac:chgData name="Petro Petrashko (UA)" userId="5b2b3b98-3131-48c7-bb8a-19b196a36949" providerId="ADAL" clId="{351FE23D-61E3-4217-9757-ECF8C23312BF}" dt="2024-06-26T14:03:02.875" v="469" actId="478"/>
          <ac:grpSpMkLst>
            <pc:docMk/>
            <pc:sldMk cId="544519598" sldId="2147482017"/>
            <ac:grpSpMk id="5" creationId="{78C01A4C-F5A3-96A4-B5EC-C09033E22A1B}"/>
          </ac:grpSpMkLst>
        </pc:grpChg>
        <pc:grpChg chg="add del mod">
          <ac:chgData name="Petro Petrashko (UA)" userId="5b2b3b98-3131-48c7-bb8a-19b196a36949" providerId="ADAL" clId="{351FE23D-61E3-4217-9757-ECF8C23312BF}" dt="2024-06-26T14:04:36.212" v="500" actId="165"/>
          <ac:grpSpMkLst>
            <pc:docMk/>
            <pc:sldMk cId="544519598" sldId="2147482017"/>
            <ac:grpSpMk id="37" creationId="{154F5215-2571-C2FB-C0DC-8243C54024C7}"/>
          </ac:grpSpMkLst>
        </pc:grpChg>
        <pc:grpChg chg="add del mod">
          <ac:chgData name="Petro Petrashko (UA)" userId="5b2b3b98-3131-48c7-bb8a-19b196a36949" providerId="ADAL" clId="{351FE23D-61E3-4217-9757-ECF8C23312BF}" dt="2024-06-26T14:04:36.212" v="500" actId="165"/>
          <ac:grpSpMkLst>
            <pc:docMk/>
            <pc:sldMk cId="544519598" sldId="2147482017"/>
            <ac:grpSpMk id="38" creationId="{1B745B00-38BE-8383-4FA5-DAB27DC7B039}"/>
          </ac:grpSpMkLst>
        </pc:grpChg>
        <pc:grpChg chg="add del mod">
          <ac:chgData name="Petro Petrashko (UA)" userId="5b2b3b98-3131-48c7-bb8a-19b196a36949" providerId="ADAL" clId="{351FE23D-61E3-4217-9757-ECF8C23312BF}" dt="2024-06-26T14:04:36.212" v="500" actId="165"/>
          <ac:grpSpMkLst>
            <pc:docMk/>
            <pc:sldMk cId="544519598" sldId="2147482017"/>
            <ac:grpSpMk id="40" creationId="{86750420-FD6B-6604-7158-3DA2A0D1310F}"/>
          </ac:grpSpMkLst>
        </pc:grpChg>
        <pc:grpChg chg="add del mod">
          <ac:chgData name="Petro Petrashko (UA)" userId="5b2b3b98-3131-48c7-bb8a-19b196a36949" providerId="ADAL" clId="{351FE23D-61E3-4217-9757-ECF8C23312BF}" dt="2024-06-26T14:04:36.212" v="500" actId="165"/>
          <ac:grpSpMkLst>
            <pc:docMk/>
            <pc:sldMk cId="544519598" sldId="2147482017"/>
            <ac:grpSpMk id="41" creationId="{A0A18DDB-06B2-FD3B-7654-6646993DFC5F}"/>
          </ac:grpSpMkLst>
        </pc:grpChg>
        <pc:grpChg chg="add del mod">
          <ac:chgData name="Petro Petrashko (UA)" userId="5b2b3b98-3131-48c7-bb8a-19b196a36949" providerId="ADAL" clId="{351FE23D-61E3-4217-9757-ECF8C23312BF}" dt="2024-06-26T14:04:36.212" v="500" actId="165"/>
          <ac:grpSpMkLst>
            <pc:docMk/>
            <pc:sldMk cId="544519598" sldId="2147482017"/>
            <ac:grpSpMk id="42" creationId="{AA6700F2-EF98-01BC-3349-67C39770F9D0}"/>
          </ac:grpSpMkLst>
        </pc:grpChg>
        <pc:grpChg chg="add del mod">
          <ac:chgData name="Petro Petrashko (UA)" userId="5b2b3b98-3131-48c7-bb8a-19b196a36949" providerId="ADAL" clId="{351FE23D-61E3-4217-9757-ECF8C23312BF}" dt="2024-06-26T14:04:36.212" v="500" actId="165"/>
          <ac:grpSpMkLst>
            <pc:docMk/>
            <pc:sldMk cId="544519598" sldId="2147482017"/>
            <ac:grpSpMk id="43" creationId="{42F4AA32-BB25-E30C-4C36-D1BBD0F77954}"/>
          </ac:grpSpMkLst>
        </pc:grpChg>
        <pc:grpChg chg="add del mod">
          <ac:chgData name="Petro Petrashko (UA)" userId="5b2b3b98-3131-48c7-bb8a-19b196a36949" providerId="ADAL" clId="{351FE23D-61E3-4217-9757-ECF8C23312BF}" dt="2024-06-26T14:04:36.212" v="500" actId="165"/>
          <ac:grpSpMkLst>
            <pc:docMk/>
            <pc:sldMk cId="544519598" sldId="2147482017"/>
            <ac:grpSpMk id="44" creationId="{5A16C42F-0E43-7F35-9D02-1640F3A7E717}"/>
          </ac:grpSpMkLst>
        </pc:grpChg>
        <pc:grpChg chg="add del mod">
          <ac:chgData name="Petro Petrashko (UA)" userId="5b2b3b98-3131-48c7-bb8a-19b196a36949" providerId="ADAL" clId="{351FE23D-61E3-4217-9757-ECF8C23312BF}" dt="2024-06-26T14:04:44.708" v="504" actId="21"/>
          <ac:grpSpMkLst>
            <pc:docMk/>
            <pc:sldMk cId="544519598" sldId="2147482017"/>
            <ac:grpSpMk id="45" creationId="{1C38E46D-98EB-DC15-3A62-560B9D204538}"/>
          </ac:grpSpMkLst>
        </pc:grpChg>
        <pc:grpChg chg="add del mod">
          <ac:chgData name="Petro Petrashko (UA)" userId="5b2b3b98-3131-48c7-bb8a-19b196a36949" providerId="ADAL" clId="{351FE23D-61E3-4217-9757-ECF8C23312BF}" dt="2024-06-26T14:04:43.036" v="503" actId="165"/>
          <ac:grpSpMkLst>
            <pc:docMk/>
            <pc:sldMk cId="544519598" sldId="2147482017"/>
            <ac:grpSpMk id="49" creationId="{AEFF6AF8-BBA7-EB5E-F1DA-0904ADC6DFCB}"/>
          </ac:grpSpMkLst>
        </pc:grpChg>
        <pc:grpChg chg="add del mod">
          <ac:chgData name="Petro Petrashko (UA)" userId="5b2b3b98-3131-48c7-bb8a-19b196a36949" providerId="ADAL" clId="{351FE23D-61E3-4217-9757-ECF8C23312BF}" dt="2024-06-26T14:11:19.666" v="861" actId="165"/>
          <ac:grpSpMkLst>
            <pc:docMk/>
            <pc:sldMk cId="544519598" sldId="2147482017"/>
            <ac:grpSpMk id="52" creationId="{8C2B9093-7879-1559-C68A-823834691664}"/>
          </ac:grpSpMkLst>
        </pc:grpChg>
        <pc:graphicFrameChg chg="add mod ord modVis replST">
          <ac:chgData name="Petro Petrashko (UA)" userId="5b2b3b98-3131-48c7-bb8a-19b196a36949" providerId="ADAL" clId="{351FE23D-61E3-4217-9757-ECF8C23312BF}" dt="2024-06-26T14:11:18.677" v="860"/>
          <ac:graphicFrameMkLst>
            <pc:docMk/>
            <pc:sldMk cId="544519598" sldId="2147482017"/>
            <ac:graphicFrameMk id="54" creationId="{47D5D9C8-026E-DCC5-5397-BC77A3E61172}"/>
          </ac:graphicFrameMkLst>
        </pc:graphicFrameChg>
        <pc:cxnChg chg="mod">
          <ac:chgData name="Petro Petrashko (UA)" userId="5b2b3b98-3131-48c7-bb8a-19b196a36949" providerId="ADAL" clId="{351FE23D-61E3-4217-9757-ECF8C23312BF}" dt="2024-06-26T14:03:28.321" v="477" actId="465"/>
          <ac:cxnSpMkLst>
            <pc:docMk/>
            <pc:sldMk cId="544519598" sldId="2147482017"/>
            <ac:cxnSpMk id="4" creationId="{A34C0450-1485-CB4E-D4F8-1B9D567AB1FF}"/>
          </ac:cxnSpMkLst>
        </pc:cxnChg>
        <pc:cxnChg chg="mod">
          <ac:chgData name="Petro Petrashko (UA)" userId="5b2b3b98-3131-48c7-bb8a-19b196a36949" providerId="ADAL" clId="{351FE23D-61E3-4217-9757-ECF8C23312BF}" dt="2024-06-26T14:03:28.321" v="477" actId="465"/>
          <ac:cxnSpMkLst>
            <pc:docMk/>
            <pc:sldMk cId="544519598" sldId="2147482017"/>
            <ac:cxnSpMk id="17" creationId="{3613A840-4E6D-FAE5-4D8C-5E63294A7644}"/>
          </ac:cxnSpMkLst>
        </pc:cxnChg>
        <pc:cxnChg chg="mod">
          <ac:chgData name="Petro Petrashko (UA)" userId="5b2b3b98-3131-48c7-bb8a-19b196a36949" providerId="ADAL" clId="{351FE23D-61E3-4217-9757-ECF8C23312BF}" dt="2024-06-26T14:03:28.321" v="477" actId="465"/>
          <ac:cxnSpMkLst>
            <pc:docMk/>
            <pc:sldMk cId="544519598" sldId="2147482017"/>
            <ac:cxnSpMk id="21" creationId="{F3097C31-51F2-D5F8-7426-0A669C9D933B}"/>
          </ac:cxnSpMkLst>
        </pc:cxnChg>
        <pc:cxnChg chg="mod">
          <ac:chgData name="Petro Petrashko (UA)" userId="5b2b3b98-3131-48c7-bb8a-19b196a36949" providerId="ADAL" clId="{351FE23D-61E3-4217-9757-ECF8C23312BF}" dt="2024-06-26T14:03:28.321" v="477" actId="465"/>
          <ac:cxnSpMkLst>
            <pc:docMk/>
            <pc:sldMk cId="544519598" sldId="2147482017"/>
            <ac:cxnSpMk id="29" creationId="{4BBC05D7-CB5F-7B1D-9CC7-D35C7404EC4C}"/>
          </ac:cxnSpMkLst>
        </pc:cxnChg>
        <pc:cxnChg chg="mod">
          <ac:chgData name="Petro Petrashko (UA)" userId="5b2b3b98-3131-48c7-bb8a-19b196a36949" providerId="ADAL" clId="{351FE23D-61E3-4217-9757-ECF8C23312BF}" dt="2024-06-26T14:03:28.321" v="477" actId="465"/>
          <ac:cxnSpMkLst>
            <pc:docMk/>
            <pc:sldMk cId="544519598" sldId="2147482017"/>
            <ac:cxnSpMk id="30" creationId="{A9BDFD01-2873-88E2-665B-A15782C2DE16}"/>
          </ac:cxnSpMkLst>
        </pc:cxnChg>
        <pc:cxnChg chg="mod">
          <ac:chgData name="Petro Petrashko (UA)" userId="5b2b3b98-3131-48c7-bb8a-19b196a36949" providerId="ADAL" clId="{351FE23D-61E3-4217-9757-ECF8C23312BF}" dt="2024-06-26T14:03:28.321" v="477" actId="465"/>
          <ac:cxnSpMkLst>
            <pc:docMk/>
            <pc:sldMk cId="544519598" sldId="2147482017"/>
            <ac:cxnSpMk id="31" creationId="{A23283C8-AC46-8F65-599C-AE50F7F5ECCA}"/>
          </ac:cxnSpMkLst>
        </pc:cxnChg>
      </pc:sldChg>
      <pc:sldChg chg="addSp delSp modSp mod">
        <pc:chgData name="Petro Petrashko (UA)" userId="5b2b3b98-3131-48c7-bb8a-19b196a36949" providerId="ADAL" clId="{351FE23D-61E3-4217-9757-ECF8C23312BF}" dt="2024-06-26T14:11:25.291" v="907"/>
        <pc:sldMkLst>
          <pc:docMk/>
          <pc:sldMk cId="1401595425" sldId="2147482018"/>
        </pc:sldMkLst>
        <pc:spChg chg="mod">
          <ac:chgData name="Petro Petrashko (UA)" userId="5b2b3b98-3131-48c7-bb8a-19b196a36949" providerId="ADAL" clId="{351FE23D-61E3-4217-9757-ECF8C23312BF}" dt="2024-06-26T14:11:25.194" v="865" actId="948"/>
          <ac:spMkLst>
            <pc:docMk/>
            <pc:sldMk cId="1401595425" sldId="2147482018"/>
            <ac:spMk id="2" creationId="{EC47296D-9568-ED7D-0457-80174E2BF2F8}"/>
          </ac:spMkLst>
        </pc:spChg>
        <pc:spChg chg="mod">
          <ac:chgData name="Petro Petrashko (UA)" userId="5b2b3b98-3131-48c7-bb8a-19b196a36949" providerId="ADAL" clId="{351FE23D-61E3-4217-9757-ECF8C23312BF}" dt="2024-06-26T14:03:48.060" v="484"/>
          <ac:spMkLst>
            <pc:docMk/>
            <pc:sldMk cId="1401595425" sldId="2147482018"/>
            <ac:spMk id="4" creationId="{013772D2-E182-8DC8-0655-C5C90A195C8F}"/>
          </ac:spMkLst>
        </pc:spChg>
        <pc:spChg chg="mod">
          <ac:chgData name="Petro Petrashko (UA)" userId="5b2b3b98-3131-48c7-bb8a-19b196a36949" providerId="ADAL" clId="{351FE23D-61E3-4217-9757-ECF8C23312BF}" dt="2024-06-26T14:04:50.765" v="507" actId="165"/>
          <ac:spMkLst>
            <pc:docMk/>
            <pc:sldMk cId="1401595425" sldId="2147482018"/>
            <ac:spMk id="5" creationId="{9B01BFF2-7C6C-4A11-DDDF-DFEB1E669057}"/>
          </ac:spMkLst>
        </pc:spChg>
        <pc:spChg chg="mod">
          <ac:chgData name="Petro Petrashko (UA)" userId="5b2b3b98-3131-48c7-bb8a-19b196a36949" providerId="ADAL" clId="{351FE23D-61E3-4217-9757-ECF8C23312BF}" dt="2024-06-26T14:04:50.765" v="507" actId="165"/>
          <ac:spMkLst>
            <pc:docMk/>
            <pc:sldMk cId="1401595425" sldId="2147482018"/>
            <ac:spMk id="6" creationId="{5C78887E-1D81-C336-D2B1-A3180DF6D42B}"/>
          </ac:spMkLst>
        </pc:spChg>
        <pc:spChg chg="mod">
          <ac:chgData name="Petro Petrashko (UA)" userId="5b2b3b98-3131-48c7-bb8a-19b196a36949" providerId="ADAL" clId="{351FE23D-61E3-4217-9757-ECF8C23312BF}" dt="2024-06-26T14:04:50.765" v="507" actId="165"/>
          <ac:spMkLst>
            <pc:docMk/>
            <pc:sldMk cId="1401595425" sldId="2147482018"/>
            <ac:spMk id="7" creationId="{86FE1521-C46F-D8C5-EA1F-0B77C311CF77}"/>
          </ac:spMkLst>
        </pc:spChg>
        <pc:spChg chg="mod">
          <ac:chgData name="Petro Petrashko (UA)" userId="5b2b3b98-3131-48c7-bb8a-19b196a36949" providerId="ADAL" clId="{351FE23D-61E3-4217-9757-ECF8C23312BF}" dt="2024-06-26T14:03:48.060" v="484"/>
          <ac:spMkLst>
            <pc:docMk/>
            <pc:sldMk cId="1401595425" sldId="2147482018"/>
            <ac:spMk id="8" creationId="{530FB5C9-F5D9-0944-0DF9-52A752B63504}"/>
          </ac:spMkLst>
        </pc:spChg>
        <pc:spChg chg="mod">
          <ac:chgData name="Petro Petrashko (UA)" userId="5b2b3b98-3131-48c7-bb8a-19b196a36949" providerId="ADAL" clId="{351FE23D-61E3-4217-9757-ECF8C23312BF}" dt="2024-06-26T14:04:50.765" v="507" actId="165"/>
          <ac:spMkLst>
            <pc:docMk/>
            <pc:sldMk cId="1401595425" sldId="2147482018"/>
            <ac:spMk id="9" creationId="{2C33BD90-1F28-012B-9552-5BD45C0528F9}"/>
          </ac:spMkLst>
        </pc:spChg>
        <pc:spChg chg="mod topLvl">
          <ac:chgData name="Petro Petrashko (UA)" userId="5b2b3b98-3131-48c7-bb8a-19b196a36949" providerId="ADAL" clId="{351FE23D-61E3-4217-9757-ECF8C23312BF}" dt="2024-06-26T14:04:50.765" v="507" actId="165"/>
          <ac:spMkLst>
            <pc:docMk/>
            <pc:sldMk cId="1401595425" sldId="2147482018"/>
            <ac:spMk id="12" creationId="{6C159E5C-6825-65ED-B20E-2427062C845D}"/>
          </ac:spMkLst>
        </pc:spChg>
        <pc:spChg chg="mod">
          <ac:chgData name="Petro Petrashko (UA)" userId="5b2b3b98-3131-48c7-bb8a-19b196a36949" providerId="ADAL" clId="{351FE23D-61E3-4217-9757-ECF8C23312BF}" dt="2024-06-26T14:04:45.856" v="506"/>
          <ac:spMkLst>
            <pc:docMk/>
            <pc:sldMk cId="1401595425" sldId="2147482018"/>
            <ac:spMk id="26" creationId="{50757A12-7A4F-1ACE-A777-54F895507B66}"/>
          </ac:spMkLst>
        </pc:spChg>
        <pc:spChg chg="mod">
          <ac:chgData name="Petro Petrashko (UA)" userId="5b2b3b98-3131-48c7-bb8a-19b196a36949" providerId="ADAL" clId="{351FE23D-61E3-4217-9757-ECF8C23312BF}" dt="2024-06-26T14:04:45.856" v="506"/>
          <ac:spMkLst>
            <pc:docMk/>
            <pc:sldMk cId="1401595425" sldId="2147482018"/>
            <ac:spMk id="29" creationId="{977CD35C-D3A2-5299-4A12-E6E64A08B48C}"/>
          </ac:spMkLst>
        </pc:spChg>
        <pc:spChg chg="add del mod modVis">
          <ac:chgData name="Petro Petrashko (UA)" userId="5b2b3b98-3131-48c7-bb8a-19b196a36949" providerId="ADAL" clId="{351FE23D-61E3-4217-9757-ECF8C23312BF}" dt="2024-06-26T14:11:25.244" v="892"/>
          <ac:spMkLst>
            <pc:docMk/>
            <pc:sldMk cId="1401595425" sldId="2147482018"/>
            <ac:spMk id="30" creationId="{281AE235-8E3C-54E3-1177-094EFD376CDD}"/>
          </ac:spMkLst>
        </pc:spChg>
        <pc:spChg chg="mod topLvl">
          <ac:chgData name="Petro Petrashko (UA)" userId="5b2b3b98-3131-48c7-bb8a-19b196a36949" providerId="ADAL" clId="{351FE23D-61E3-4217-9757-ECF8C23312BF}" dt="2024-06-26T14:04:50.765" v="507" actId="165"/>
          <ac:spMkLst>
            <pc:docMk/>
            <pc:sldMk cId="1401595425" sldId="2147482018"/>
            <ac:spMk id="33" creationId="{A9EA678B-1C92-D1EC-5EF2-97D0A4907E68}"/>
          </ac:spMkLst>
        </pc:spChg>
        <pc:spChg chg="mod">
          <ac:chgData name="Petro Petrashko (UA)" userId="5b2b3b98-3131-48c7-bb8a-19b196a36949" providerId="ADAL" clId="{351FE23D-61E3-4217-9757-ECF8C23312BF}" dt="2024-06-26T14:04:50.765" v="507" actId="165"/>
          <ac:spMkLst>
            <pc:docMk/>
            <pc:sldMk cId="1401595425" sldId="2147482018"/>
            <ac:spMk id="39" creationId="{1827754A-E5C9-3C2B-2904-C6CA6ABA4D9D}"/>
          </ac:spMkLst>
        </pc:spChg>
        <pc:spChg chg="mod">
          <ac:chgData name="Petro Petrashko (UA)" userId="5b2b3b98-3131-48c7-bb8a-19b196a36949" providerId="ADAL" clId="{351FE23D-61E3-4217-9757-ECF8C23312BF}" dt="2024-06-26T14:04:50.765" v="507" actId="165"/>
          <ac:spMkLst>
            <pc:docMk/>
            <pc:sldMk cId="1401595425" sldId="2147482018"/>
            <ac:spMk id="41" creationId="{23DF718D-7257-2123-82CE-6D108C84E70D}"/>
          </ac:spMkLst>
        </pc:spChg>
        <pc:spChg chg="mod">
          <ac:chgData name="Petro Petrashko (UA)" userId="5b2b3b98-3131-48c7-bb8a-19b196a36949" providerId="ADAL" clId="{351FE23D-61E3-4217-9757-ECF8C23312BF}" dt="2024-06-26T14:04:50.765" v="507" actId="165"/>
          <ac:spMkLst>
            <pc:docMk/>
            <pc:sldMk cId="1401595425" sldId="2147482018"/>
            <ac:spMk id="44" creationId="{B5C01C9D-FCFE-7C06-355F-B51DC9CE2BD7}"/>
          </ac:spMkLst>
        </pc:spChg>
        <pc:spChg chg="mod">
          <ac:chgData name="Petro Petrashko (UA)" userId="5b2b3b98-3131-48c7-bb8a-19b196a36949" providerId="ADAL" clId="{351FE23D-61E3-4217-9757-ECF8C23312BF}" dt="2024-06-26T14:04:50.765" v="507" actId="165"/>
          <ac:spMkLst>
            <pc:docMk/>
            <pc:sldMk cId="1401595425" sldId="2147482018"/>
            <ac:spMk id="45" creationId="{95F83EE7-077E-1143-291F-23EE821A1687}"/>
          </ac:spMkLst>
        </pc:spChg>
        <pc:spChg chg="mod">
          <ac:chgData name="Petro Petrashko (UA)" userId="5b2b3b98-3131-48c7-bb8a-19b196a36949" providerId="ADAL" clId="{351FE23D-61E3-4217-9757-ECF8C23312BF}" dt="2024-06-26T14:04:50.765" v="507" actId="165"/>
          <ac:spMkLst>
            <pc:docMk/>
            <pc:sldMk cId="1401595425" sldId="2147482018"/>
            <ac:spMk id="48" creationId="{718C1DA6-897D-1E84-C3B9-46D621F0912C}"/>
          </ac:spMkLst>
        </pc:spChg>
        <pc:spChg chg="mod">
          <ac:chgData name="Petro Petrashko (UA)" userId="5b2b3b98-3131-48c7-bb8a-19b196a36949" providerId="ADAL" clId="{351FE23D-61E3-4217-9757-ECF8C23312BF}" dt="2024-06-26T14:04:50.765" v="507" actId="165"/>
          <ac:spMkLst>
            <pc:docMk/>
            <pc:sldMk cId="1401595425" sldId="2147482018"/>
            <ac:spMk id="49" creationId="{EB8CA6BE-7B8C-6996-F7C4-29CB41CDD342}"/>
          </ac:spMkLst>
        </pc:spChg>
        <pc:spChg chg="mod">
          <ac:chgData name="Petro Petrashko (UA)" userId="5b2b3b98-3131-48c7-bb8a-19b196a36949" providerId="ADAL" clId="{351FE23D-61E3-4217-9757-ECF8C23312BF}" dt="2024-06-26T14:04:50.765" v="507" actId="165"/>
          <ac:spMkLst>
            <pc:docMk/>
            <pc:sldMk cId="1401595425" sldId="2147482018"/>
            <ac:spMk id="55" creationId="{BBE22A93-5587-DA7B-29CF-65407AE35D02}"/>
          </ac:spMkLst>
        </pc:spChg>
        <pc:spChg chg="mod">
          <ac:chgData name="Petro Petrashko (UA)" userId="5b2b3b98-3131-48c7-bb8a-19b196a36949" providerId="ADAL" clId="{351FE23D-61E3-4217-9757-ECF8C23312BF}" dt="2024-06-26T14:04:50.765" v="507" actId="165"/>
          <ac:spMkLst>
            <pc:docMk/>
            <pc:sldMk cId="1401595425" sldId="2147482018"/>
            <ac:spMk id="56" creationId="{591B758D-F953-BC53-26C5-F859207AF361}"/>
          </ac:spMkLst>
        </pc:spChg>
        <pc:spChg chg="mod topLvl">
          <ac:chgData name="Petro Petrashko (UA)" userId="5b2b3b98-3131-48c7-bb8a-19b196a36949" providerId="ADAL" clId="{351FE23D-61E3-4217-9757-ECF8C23312BF}" dt="2024-06-26T14:04:50.765" v="507" actId="165"/>
          <ac:spMkLst>
            <pc:docMk/>
            <pc:sldMk cId="1401595425" sldId="2147482018"/>
            <ac:spMk id="75" creationId="{AB24C0B9-0E0F-E3B2-1237-5CBEE719A1F1}"/>
          </ac:spMkLst>
        </pc:spChg>
        <pc:spChg chg="mod topLvl">
          <ac:chgData name="Petro Petrashko (UA)" userId="5b2b3b98-3131-48c7-bb8a-19b196a36949" providerId="ADAL" clId="{351FE23D-61E3-4217-9757-ECF8C23312BF}" dt="2024-06-26T14:04:50.765" v="507" actId="165"/>
          <ac:spMkLst>
            <pc:docMk/>
            <pc:sldMk cId="1401595425" sldId="2147482018"/>
            <ac:spMk id="76" creationId="{8793B610-11BB-3DD5-343E-D5A1842E54DF}"/>
          </ac:spMkLst>
        </pc:spChg>
        <pc:spChg chg="mod topLvl">
          <ac:chgData name="Petro Petrashko (UA)" userId="5b2b3b98-3131-48c7-bb8a-19b196a36949" providerId="ADAL" clId="{351FE23D-61E3-4217-9757-ECF8C23312BF}" dt="2024-06-26T14:04:50.765" v="507" actId="165"/>
          <ac:spMkLst>
            <pc:docMk/>
            <pc:sldMk cId="1401595425" sldId="2147482018"/>
            <ac:spMk id="77" creationId="{7507519A-1DE4-B47D-BFBC-5EC74A788B23}"/>
          </ac:spMkLst>
        </pc:spChg>
        <pc:spChg chg="mod topLvl">
          <ac:chgData name="Petro Petrashko (UA)" userId="5b2b3b98-3131-48c7-bb8a-19b196a36949" providerId="ADAL" clId="{351FE23D-61E3-4217-9757-ECF8C23312BF}" dt="2024-06-26T14:04:50.765" v="507" actId="165"/>
          <ac:spMkLst>
            <pc:docMk/>
            <pc:sldMk cId="1401595425" sldId="2147482018"/>
            <ac:spMk id="99" creationId="{805B5EBD-6AAC-3E2E-7379-47BAFD8ABB47}"/>
          </ac:spMkLst>
        </pc:spChg>
        <pc:grpChg chg="add del mod">
          <ac:chgData name="Petro Petrashko (UA)" userId="5b2b3b98-3131-48c7-bb8a-19b196a36949" providerId="ADAL" clId="{351FE23D-61E3-4217-9757-ECF8C23312BF}" dt="2024-06-26T14:04:00.340" v="489" actId="478"/>
          <ac:grpSpMkLst>
            <pc:docMk/>
            <pc:sldMk cId="1401595425" sldId="2147482018"/>
            <ac:grpSpMk id="3" creationId="{2AEEB2F2-A306-66FA-33C9-5FE912F92909}"/>
          </ac:grpSpMkLst>
        </pc:grpChg>
        <pc:grpChg chg="add del mod">
          <ac:chgData name="Petro Petrashko (UA)" userId="5b2b3b98-3131-48c7-bb8a-19b196a36949" providerId="ADAL" clId="{351FE23D-61E3-4217-9757-ECF8C23312BF}" dt="2024-06-26T14:04:50.765" v="507" actId="165"/>
          <ac:grpSpMkLst>
            <pc:docMk/>
            <pc:sldMk cId="1401595425" sldId="2147482018"/>
            <ac:grpSpMk id="10" creationId="{470FFAF8-01F7-D16C-074E-BEADD0A81935}"/>
          </ac:grpSpMkLst>
        </pc:grpChg>
        <pc:grpChg chg="add del mod">
          <ac:chgData name="Petro Petrashko (UA)" userId="5b2b3b98-3131-48c7-bb8a-19b196a36949" providerId="ADAL" clId="{351FE23D-61E3-4217-9757-ECF8C23312BF}" dt="2024-06-26T14:04:50.765" v="507" actId="165"/>
          <ac:grpSpMkLst>
            <pc:docMk/>
            <pc:sldMk cId="1401595425" sldId="2147482018"/>
            <ac:grpSpMk id="11" creationId="{368899EE-18C8-3783-430D-C1D471D616FA}"/>
          </ac:grpSpMkLst>
        </pc:grpChg>
        <pc:grpChg chg="add del mod">
          <ac:chgData name="Petro Petrashko (UA)" userId="5b2b3b98-3131-48c7-bb8a-19b196a36949" providerId="ADAL" clId="{351FE23D-61E3-4217-9757-ECF8C23312BF}" dt="2024-06-26T14:04:50.765" v="507" actId="165"/>
          <ac:grpSpMkLst>
            <pc:docMk/>
            <pc:sldMk cId="1401595425" sldId="2147482018"/>
            <ac:grpSpMk id="20" creationId="{28A13C01-F87B-C0F2-8AD9-C437F7E0ACF9}"/>
          </ac:grpSpMkLst>
        </pc:grpChg>
        <pc:grpChg chg="add del mod">
          <ac:chgData name="Petro Petrashko (UA)" userId="5b2b3b98-3131-48c7-bb8a-19b196a36949" providerId="ADAL" clId="{351FE23D-61E3-4217-9757-ECF8C23312BF}" dt="2024-06-26T14:04:50.765" v="507" actId="165"/>
          <ac:grpSpMkLst>
            <pc:docMk/>
            <pc:sldMk cId="1401595425" sldId="2147482018"/>
            <ac:grpSpMk id="21" creationId="{8072D514-A5AC-80D7-EDE2-AF8AA668EBA0}"/>
          </ac:grpSpMkLst>
        </pc:grpChg>
        <pc:grpChg chg="add del mod">
          <ac:chgData name="Petro Petrashko (UA)" userId="5b2b3b98-3131-48c7-bb8a-19b196a36949" providerId="ADAL" clId="{351FE23D-61E3-4217-9757-ECF8C23312BF}" dt="2024-06-26T14:04:50.765" v="507" actId="165"/>
          <ac:grpSpMkLst>
            <pc:docMk/>
            <pc:sldMk cId="1401595425" sldId="2147482018"/>
            <ac:grpSpMk id="22" creationId="{22CEC99B-2CB2-CA40-CBDB-588C34729DC7}"/>
          </ac:grpSpMkLst>
        </pc:grpChg>
        <pc:grpChg chg="add del mod">
          <ac:chgData name="Petro Petrashko (UA)" userId="5b2b3b98-3131-48c7-bb8a-19b196a36949" providerId="ADAL" clId="{351FE23D-61E3-4217-9757-ECF8C23312BF}" dt="2024-06-26T14:04:50.765" v="507" actId="165"/>
          <ac:grpSpMkLst>
            <pc:docMk/>
            <pc:sldMk cId="1401595425" sldId="2147482018"/>
            <ac:grpSpMk id="23" creationId="{21D0F457-206F-673B-795A-9DED00C668C2}"/>
          </ac:grpSpMkLst>
        </pc:grpChg>
        <pc:grpChg chg="add del mod">
          <ac:chgData name="Petro Petrashko (UA)" userId="5b2b3b98-3131-48c7-bb8a-19b196a36949" providerId="ADAL" clId="{351FE23D-61E3-4217-9757-ECF8C23312BF}" dt="2024-06-26T14:04:55.754" v="509" actId="478"/>
          <ac:grpSpMkLst>
            <pc:docMk/>
            <pc:sldMk cId="1401595425" sldId="2147482018"/>
            <ac:grpSpMk id="24" creationId="{F449F12B-0BDA-478C-C1AC-88EDC61C70F5}"/>
          </ac:grpSpMkLst>
        </pc:grpChg>
        <pc:grpChg chg="mod topLvl">
          <ac:chgData name="Petro Petrashko (UA)" userId="5b2b3b98-3131-48c7-bb8a-19b196a36949" providerId="ADAL" clId="{351FE23D-61E3-4217-9757-ECF8C23312BF}" dt="2024-06-26T14:11:24.562" v="864" actId="552"/>
          <ac:grpSpMkLst>
            <pc:docMk/>
            <pc:sldMk cId="1401595425" sldId="2147482018"/>
            <ac:grpSpMk id="42" creationId="{A4F4AFF7-D322-3750-1DFA-D9C100938F39}"/>
          </ac:grpSpMkLst>
        </pc:grpChg>
        <pc:grpChg chg="mod topLvl">
          <ac:chgData name="Petro Petrashko (UA)" userId="5b2b3b98-3131-48c7-bb8a-19b196a36949" providerId="ADAL" clId="{351FE23D-61E3-4217-9757-ECF8C23312BF}" dt="2024-06-26T14:11:24.562" v="864" actId="552"/>
          <ac:grpSpMkLst>
            <pc:docMk/>
            <pc:sldMk cId="1401595425" sldId="2147482018"/>
            <ac:grpSpMk id="43" creationId="{C1882662-BF50-0FC2-9D53-D9AD4D05B1BE}"/>
          </ac:grpSpMkLst>
        </pc:grpChg>
        <pc:grpChg chg="mod topLvl">
          <ac:chgData name="Petro Petrashko (UA)" userId="5b2b3b98-3131-48c7-bb8a-19b196a36949" providerId="ADAL" clId="{351FE23D-61E3-4217-9757-ECF8C23312BF}" dt="2024-06-26T14:11:24.562" v="864" actId="552"/>
          <ac:grpSpMkLst>
            <pc:docMk/>
            <pc:sldMk cId="1401595425" sldId="2147482018"/>
            <ac:grpSpMk id="46" creationId="{9D0D27D0-1D3C-D063-303A-78578DD5B482}"/>
          </ac:grpSpMkLst>
        </pc:grpChg>
        <pc:grpChg chg="mod topLvl">
          <ac:chgData name="Petro Petrashko (UA)" userId="5b2b3b98-3131-48c7-bb8a-19b196a36949" providerId="ADAL" clId="{351FE23D-61E3-4217-9757-ECF8C23312BF}" dt="2024-06-26T14:11:24.562" v="864" actId="552"/>
          <ac:grpSpMkLst>
            <pc:docMk/>
            <pc:sldMk cId="1401595425" sldId="2147482018"/>
            <ac:grpSpMk id="52" creationId="{65797E59-9420-4DCA-2BF0-7142E471B84C}"/>
          </ac:grpSpMkLst>
        </pc:grpChg>
        <pc:grpChg chg="mod topLvl">
          <ac:chgData name="Petro Petrashko (UA)" userId="5b2b3b98-3131-48c7-bb8a-19b196a36949" providerId="ADAL" clId="{351FE23D-61E3-4217-9757-ECF8C23312BF}" dt="2024-06-26T14:11:24.562" v="864" actId="552"/>
          <ac:grpSpMkLst>
            <pc:docMk/>
            <pc:sldMk cId="1401595425" sldId="2147482018"/>
            <ac:grpSpMk id="53" creationId="{53D841C3-FCA8-0E4C-CFCD-DE20CC7BAC2E}"/>
          </ac:grpSpMkLst>
        </pc:grpChg>
        <pc:grpChg chg="mod topLvl">
          <ac:chgData name="Petro Petrashko (UA)" userId="5b2b3b98-3131-48c7-bb8a-19b196a36949" providerId="ADAL" clId="{351FE23D-61E3-4217-9757-ECF8C23312BF}" dt="2024-06-26T14:11:24.562" v="864" actId="552"/>
          <ac:grpSpMkLst>
            <pc:docMk/>
            <pc:sldMk cId="1401595425" sldId="2147482018"/>
            <ac:grpSpMk id="54" creationId="{AEB34293-42F7-9DB0-592C-B0D02ABB0F4B}"/>
          </ac:grpSpMkLst>
        </pc:grpChg>
        <pc:graphicFrameChg chg="add mod ord modVis replST">
          <ac:chgData name="Petro Petrashko (UA)" userId="5b2b3b98-3131-48c7-bb8a-19b196a36949" providerId="ADAL" clId="{351FE23D-61E3-4217-9757-ECF8C23312BF}" dt="2024-06-26T14:11:25.291" v="907"/>
          <ac:graphicFrameMkLst>
            <pc:docMk/>
            <pc:sldMk cId="1401595425" sldId="2147482018"/>
            <ac:graphicFrameMk id="31" creationId="{0CCB6DD0-0A2D-D7E9-76EC-1E664B1AF0D4}"/>
          </ac:graphicFrameMkLst>
        </pc:graphicFrameChg>
        <pc:cxnChg chg="mod">
          <ac:chgData name="Petro Petrashko (UA)" userId="5b2b3b98-3131-48c7-bb8a-19b196a36949" providerId="ADAL" clId="{351FE23D-61E3-4217-9757-ECF8C23312BF}" dt="2024-06-26T14:04:14.092" v="495" actId="465"/>
          <ac:cxnSpMkLst>
            <pc:docMk/>
            <pc:sldMk cId="1401595425" sldId="2147482018"/>
            <ac:cxnSpMk id="13" creationId="{57E638E7-D0A4-5E2D-AACB-B8C40DD06519}"/>
          </ac:cxnSpMkLst>
        </pc:cxnChg>
        <pc:cxnChg chg="mod">
          <ac:chgData name="Petro Petrashko (UA)" userId="5b2b3b98-3131-48c7-bb8a-19b196a36949" providerId="ADAL" clId="{351FE23D-61E3-4217-9757-ECF8C23312BF}" dt="2024-06-26T14:04:14.092" v="495" actId="465"/>
          <ac:cxnSpMkLst>
            <pc:docMk/>
            <pc:sldMk cId="1401595425" sldId="2147482018"/>
            <ac:cxnSpMk id="16" creationId="{D5F3E7D7-11B3-9912-9E28-D800635741FC}"/>
          </ac:cxnSpMkLst>
        </pc:cxnChg>
        <pc:cxnChg chg="mod">
          <ac:chgData name="Petro Petrashko (UA)" userId="5b2b3b98-3131-48c7-bb8a-19b196a36949" providerId="ADAL" clId="{351FE23D-61E3-4217-9757-ECF8C23312BF}" dt="2024-06-26T14:04:14.092" v="495" actId="465"/>
          <ac:cxnSpMkLst>
            <pc:docMk/>
            <pc:sldMk cId="1401595425" sldId="2147482018"/>
            <ac:cxnSpMk id="25" creationId="{0B98F0A9-A0F5-94E3-A94F-1CD87810FB99}"/>
          </ac:cxnSpMkLst>
        </pc:cxnChg>
        <pc:cxnChg chg="mod">
          <ac:chgData name="Petro Petrashko (UA)" userId="5b2b3b98-3131-48c7-bb8a-19b196a36949" providerId="ADAL" clId="{351FE23D-61E3-4217-9757-ECF8C23312BF}" dt="2024-06-26T14:04:14.092" v="495" actId="465"/>
          <ac:cxnSpMkLst>
            <pc:docMk/>
            <pc:sldMk cId="1401595425" sldId="2147482018"/>
            <ac:cxnSpMk id="27" creationId="{5FE1F1BA-74EB-89F7-7A1C-E75D518CD996}"/>
          </ac:cxnSpMkLst>
        </pc:cxnChg>
        <pc:cxnChg chg="mod">
          <ac:chgData name="Petro Petrashko (UA)" userId="5b2b3b98-3131-48c7-bb8a-19b196a36949" providerId="ADAL" clId="{351FE23D-61E3-4217-9757-ECF8C23312BF}" dt="2024-06-26T14:04:14.092" v="495" actId="465"/>
          <ac:cxnSpMkLst>
            <pc:docMk/>
            <pc:sldMk cId="1401595425" sldId="2147482018"/>
            <ac:cxnSpMk id="28" creationId="{CA568E8B-8B6F-B25E-3CB3-5A3C3D31C90A}"/>
          </ac:cxnSpMkLst>
        </pc:cxnChg>
      </pc:sldChg>
      <pc:sldChg chg="addSp delSp modSp mod">
        <pc:chgData name="Petro Petrashko (UA)" userId="5b2b3b98-3131-48c7-bb8a-19b196a36949" providerId="ADAL" clId="{351FE23D-61E3-4217-9757-ECF8C23312BF}" dt="2024-06-26T14:11:31.924" v="954" actId="165"/>
        <pc:sldMkLst>
          <pc:docMk/>
          <pc:sldMk cId="2403530007" sldId="2147482019"/>
        </pc:sldMkLst>
        <pc:spChg chg="mod">
          <ac:chgData name="Petro Petrashko (UA)" userId="5b2b3b98-3131-48c7-bb8a-19b196a36949" providerId="ADAL" clId="{351FE23D-61E3-4217-9757-ECF8C23312BF}" dt="2024-06-26T14:11:31.476" v="911" actId="948"/>
          <ac:spMkLst>
            <pc:docMk/>
            <pc:sldMk cId="2403530007" sldId="2147482019"/>
            <ac:spMk id="2" creationId="{EC47296D-9568-ED7D-0457-80174E2BF2F8}"/>
          </ac:spMkLst>
        </pc:spChg>
        <pc:spChg chg="mod topLvl">
          <ac:chgData name="Petro Petrashko (UA)" userId="5b2b3b98-3131-48c7-bb8a-19b196a36949" providerId="ADAL" clId="{351FE23D-61E3-4217-9757-ECF8C23312BF}" dt="2024-06-26T14:11:31.924" v="954" actId="165"/>
          <ac:spMkLst>
            <pc:docMk/>
            <pc:sldMk cId="2403530007" sldId="2147482019"/>
            <ac:spMk id="5" creationId="{82C91F83-6981-8B2A-FA3C-1F2F3ADFB9FD}"/>
          </ac:spMkLst>
        </pc:spChg>
        <pc:spChg chg="mod">
          <ac:chgData name="Petro Petrashko (UA)" userId="5b2b3b98-3131-48c7-bb8a-19b196a36949" providerId="ADAL" clId="{351FE23D-61E3-4217-9757-ECF8C23312BF}" dt="2024-06-26T14:05:14.490" v="512"/>
          <ac:spMkLst>
            <pc:docMk/>
            <pc:sldMk cId="2403530007" sldId="2147482019"/>
            <ac:spMk id="6" creationId="{15F52D5A-63BE-2275-0153-4D6F9A593DEE}"/>
          </ac:spMkLst>
        </pc:spChg>
        <pc:spChg chg="mod">
          <ac:chgData name="Petro Petrashko (UA)" userId="5b2b3b98-3131-48c7-bb8a-19b196a36949" providerId="ADAL" clId="{351FE23D-61E3-4217-9757-ECF8C23312BF}" dt="2024-06-26T14:05:14.490" v="512"/>
          <ac:spMkLst>
            <pc:docMk/>
            <pc:sldMk cId="2403530007" sldId="2147482019"/>
            <ac:spMk id="8" creationId="{75BB688A-EB02-7F1E-476B-1DC570357AB7}"/>
          </ac:spMkLst>
        </pc:spChg>
        <pc:spChg chg="mod topLvl">
          <ac:chgData name="Petro Petrashko (UA)" userId="5b2b3b98-3131-48c7-bb8a-19b196a36949" providerId="ADAL" clId="{351FE23D-61E3-4217-9757-ECF8C23312BF}" dt="2024-06-26T14:11:31.924" v="954" actId="165"/>
          <ac:spMkLst>
            <pc:docMk/>
            <pc:sldMk cId="2403530007" sldId="2147482019"/>
            <ac:spMk id="9" creationId="{9EBB1D1E-6449-913E-E858-C48CC79A35B7}"/>
          </ac:spMkLst>
        </pc:spChg>
        <pc:spChg chg="mod topLvl">
          <ac:chgData name="Petro Petrashko (UA)" userId="5b2b3b98-3131-48c7-bb8a-19b196a36949" providerId="ADAL" clId="{351FE23D-61E3-4217-9757-ECF8C23312BF}" dt="2024-06-26T14:11:31.924" v="954" actId="165"/>
          <ac:spMkLst>
            <pc:docMk/>
            <pc:sldMk cId="2403530007" sldId="2147482019"/>
            <ac:spMk id="11" creationId="{2699A53A-B3BD-81F5-62B1-E1AFB84CBAF9}"/>
          </ac:spMkLst>
        </pc:spChg>
        <pc:spChg chg="mod topLvl">
          <ac:chgData name="Petro Petrashko (UA)" userId="5b2b3b98-3131-48c7-bb8a-19b196a36949" providerId="ADAL" clId="{351FE23D-61E3-4217-9757-ECF8C23312BF}" dt="2024-06-26T14:11:31.924" v="954" actId="165"/>
          <ac:spMkLst>
            <pc:docMk/>
            <pc:sldMk cId="2403530007" sldId="2147482019"/>
            <ac:spMk id="12" creationId="{EEEC8714-4554-535F-5536-4371C6F9A1BA}"/>
          </ac:spMkLst>
        </pc:spChg>
        <pc:spChg chg="mod topLvl">
          <ac:chgData name="Petro Petrashko (UA)" userId="5b2b3b98-3131-48c7-bb8a-19b196a36949" providerId="ADAL" clId="{351FE23D-61E3-4217-9757-ECF8C23312BF}" dt="2024-06-26T14:11:31.924" v="954" actId="165"/>
          <ac:spMkLst>
            <pc:docMk/>
            <pc:sldMk cId="2403530007" sldId="2147482019"/>
            <ac:spMk id="13" creationId="{3F193BB6-564F-7ED4-20BE-73BF54343CE7}"/>
          </ac:spMkLst>
        </pc:spChg>
        <pc:spChg chg="mod topLvl">
          <ac:chgData name="Petro Petrashko (UA)" userId="5b2b3b98-3131-48c7-bb8a-19b196a36949" providerId="ADAL" clId="{351FE23D-61E3-4217-9757-ECF8C23312BF}" dt="2024-06-26T14:11:31.924" v="954" actId="165"/>
          <ac:spMkLst>
            <pc:docMk/>
            <pc:sldMk cId="2403530007" sldId="2147482019"/>
            <ac:spMk id="15" creationId="{9E0E0D22-42F4-802B-FD44-EDC127F0142C}"/>
          </ac:spMkLst>
        </pc:spChg>
        <pc:spChg chg="mod topLvl">
          <ac:chgData name="Petro Petrashko (UA)" userId="5b2b3b98-3131-48c7-bb8a-19b196a36949" providerId="ADAL" clId="{351FE23D-61E3-4217-9757-ECF8C23312BF}" dt="2024-06-26T14:11:31.924" v="954" actId="165"/>
          <ac:spMkLst>
            <pc:docMk/>
            <pc:sldMk cId="2403530007" sldId="2147482019"/>
            <ac:spMk id="16" creationId="{DE200739-7B25-E26F-EE8E-B08BBC35C608}"/>
          </ac:spMkLst>
        </pc:spChg>
        <pc:spChg chg="mod topLvl">
          <ac:chgData name="Petro Petrashko (UA)" userId="5b2b3b98-3131-48c7-bb8a-19b196a36949" providerId="ADAL" clId="{351FE23D-61E3-4217-9757-ECF8C23312BF}" dt="2024-06-26T14:11:31.924" v="954" actId="165"/>
          <ac:spMkLst>
            <pc:docMk/>
            <pc:sldMk cId="2403530007" sldId="2147482019"/>
            <ac:spMk id="25" creationId="{73193CD6-27B5-A6F9-730A-EA354B870D72}"/>
          </ac:spMkLst>
        </pc:spChg>
        <pc:spChg chg="mod topLvl">
          <ac:chgData name="Petro Petrashko (UA)" userId="5b2b3b98-3131-48c7-bb8a-19b196a36949" providerId="ADAL" clId="{351FE23D-61E3-4217-9757-ECF8C23312BF}" dt="2024-06-26T14:11:31.924" v="954" actId="165"/>
          <ac:spMkLst>
            <pc:docMk/>
            <pc:sldMk cId="2403530007" sldId="2147482019"/>
            <ac:spMk id="26" creationId="{F0CB5772-83FD-A70A-A885-67FCEEE49754}"/>
          </ac:spMkLst>
        </pc:spChg>
        <pc:spChg chg="add del mod modVis">
          <ac:chgData name="Petro Petrashko (UA)" userId="5b2b3b98-3131-48c7-bb8a-19b196a36949" providerId="ADAL" clId="{351FE23D-61E3-4217-9757-ECF8C23312BF}" dt="2024-06-26T14:11:31.517" v="938"/>
          <ac:spMkLst>
            <pc:docMk/>
            <pc:sldMk cId="2403530007" sldId="2147482019"/>
            <ac:spMk id="28" creationId="{C0B871A1-0EFB-AB8C-41BC-72165E6C8F11}"/>
          </ac:spMkLst>
        </pc:spChg>
        <pc:spChg chg="mod topLvl">
          <ac:chgData name="Petro Petrashko (UA)" userId="5b2b3b98-3131-48c7-bb8a-19b196a36949" providerId="ADAL" clId="{351FE23D-61E3-4217-9757-ECF8C23312BF}" dt="2024-06-26T14:11:31.924" v="954" actId="165"/>
          <ac:spMkLst>
            <pc:docMk/>
            <pc:sldMk cId="2403530007" sldId="2147482019"/>
            <ac:spMk id="34" creationId="{31E65DFA-47A0-4AD8-6B27-3C86CFB7284A}"/>
          </ac:spMkLst>
        </pc:spChg>
        <pc:spChg chg="mod topLvl">
          <ac:chgData name="Petro Petrashko (UA)" userId="5b2b3b98-3131-48c7-bb8a-19b196a36949" providerId="ADAL" clId="{351FE23D-61E3-4217-9757-ECF8C23312BF}" dt="2024-06-26T14:11:31.924" v="954" actId="165"/>
          <ac:spMkLst>
            <pc:docMk/>
            <pc:sldMk cId="2403530007" sldId="2147482019"/>
            <ac:spMk id="47" creationId="{DE28A1F8-05E1-2D2E-5F4B-FFE030D33C0D}"/>
          </ac:spMkLst>
        </pc:spChg>
        <pc:spChg chg="mod topLvl">
          <ac:chgData name="Petro Petrashko (UA)" userId="5b2b3b98-3131-48c7-bb8a-19b196a36949" providerId="ADAL" clId="{351FE23D-61E3-4217-9757-ECF8C23312BF}" dt="2024-06-26T14:11:31.924" v="954" actId="165"/>
          <ac:spMkLst>
            <pc:docMk/>
            <pc:sldMk cId="2403530007" sldId="2147482019"/>
            <ac:spMk id="51" creationId="{459753F3-41F3-63B5-45E4-F3B58708C5B6}"/>
          </ac:spMkLst>
        </pc:spChg>
        <pc:grpChg chg="add del mod">
          <ac:chgData name="Petro Petrashko (UA)" userId="5b2b3b98-3131-48c7-bb8a-19b196a36949" providerId="ADAL" clId="{351FE23D-61E3-4217-9757-ECF8C23312BF}" dt="2024-06-26T14:05:24.759" v="515" actId="478"/>
          <ac:grpSpMkLst>
            <pc:docMk/>
            <pc:sldMk cId="2403530007" sldId="2147482019"/>
            <ac:grpSpMk id="3" creationId="{EBD3EEAE-F5E3-73ED-D6C1-4582B441739F}"/>
          </ac:grpSpMkLst>
        </pc:grpChg>
        <pc:grpChg chg="add del mod">
          <ac:chgData name="Petro Petrashko (UA)" userId="5b2b3b98-3131-48c7-bb8a-19b196a36949" providerId="ADAL" clId="{351FE23D-61E3-4217-9757-ECF8C23312BF}" dt="2024-06-26T14:11:31.924" v="954" actId="165"/>
          <ac:grpSpMkLst>
            <pc:docMk/>
            <pc:sldMk cId="2403530007" sldId="2147482019"/>
            <ac:grpSpMk id="10" creationId="{ED7B9491-4F4F-4901-D3BE-3CE4189612F5}"/>
          </ac:grpSpMkLst>
        </pc:grpChg>
        <pc:graphicFrameChg chg="add mod ord modVis replST">
          <ac:chgData name="Petro Petrashko (UA)" userId="5b2b3b98-3131-48c7-bb8a-19b196a36949" providerId="ADAL" clId="{351FE23D-61E3-4217-9757-ECF8C23312BF}" dt="2024-06-26T14:11:31.571" v="953"/>
          <ac:graphicFrameMkLst>
            <pc:docMk/>
            <pc:sldMk cId="2403530007" sldId="2147482019"/>
            <ac:graphicFrameMk id="29" creationId="{E9055983-5BDC-2790-0810-8F819DF26CD9}"/>
          </ac:graphicFrameMkLst>
        </pc:graphicFrameChg>
      </pc:sldChg>
      <pc:sldChg chg="modSp mod">
        <pc:chgData name="Petro Petrashko (UA)" userId="5b2b3b98-3131-48c7-bb8a-19b196a36949" providerId="ADAL" clId="{351FE23D-61E3-4217-9757-ECF8C23312BF}" dt="2024-06-26T12:01:04.915" v="166" actId="20577"/>
        <pc:sldMkLst>
          <pc:docMk/>
          <pc:sldMk cId="4066072075" sldId="2147482036"/>
        </pc:sldMkLst>
        <pc:spChg chg="mod">
          <ac:chgData name="Petro Petrashko (UA)" userId="5b2b3b98-3131-48c7-bb8a-19b196a36949" providerId="ADAL" clId="{351FE23D-61E3-4217-9757-ECF8C23312BF}" dt="2024-06-26T12:01:04.915" v="166" actId="20577"/>
          <ac:spMkLst>
            <pc:docMk/>
            <pc:sldMk cId="4066072075" sldId="2147482036"/>
            <ac:spMk id="77" creationId="{7507519A-1DE4-B47D-BFBC-5EC74A788B23}"/>
          </ac:spMkLst>
        </pc:spChg>
      </pc:sldChg>
      <pc:sldChg chg="addSp delSp modSp mod">
        <pc:chgData name="Petro Petrashko (UA)" userId="5b2b3b98-3131-48c7-bb8a-19b196a36949" providerId="ADAL" clId="{351FE23D-61E3-4217-9757-ECF8C23312BF}" dt="2024-06-26T12:00:29.298" v="153" actId="465"/>
        <pc:sldMkLst>
          <pc:docMk/>
          <pc:sldMk cId="397739886" sldId="2147482037"/>
        </pc:sldMkLst>
        <pc:spChg chg="mod topLvl">
          <ac:chgData name="Petro Petrashko (UA)" userId="5b2b3b98-3131-48c7-bb8a-19b196a36949" providerId="ADAL" clId="{351FE23D-61E3-4217-9757-ECF8C23312BF}" dt="2024-06-26T11:58:59.595" v="142" actId="20577"/>
          <ac:spMkLst>
            <pc:docMk/>
            <pc:sldMk cId="397739886" sldId="2147482037"/>
            <ac:spMk id="12" creationId="{879A926F-6658-DAA7-02B9-E966021CE708}"/>
          </ac:spMkLst>
        </pc:spChg>
        <pc:spChg chg="mod topLvl">
          <ac:chgData name="Petro Petrashko (UA)" userId="5b2b3b98-3131-48c7-bb8a-19b196a36949" providerId="ADAL" clId="{351FE23D-61E3-4217-9757-ECF8C23312BF}" dt="2024-06-26T11:58:44.714" v="137" actId="165"/>
          <ac:spMkLst>
            <pc:docMk/>
            <pc:sldMk cId="397739886" sldId="2147482037"/>
            <ac:spMk id="14" creationId="{38B7A15B-C497-C2BD-7DEB-F1C67E912EAA}"/>
          </ac:spMkLst>
        </pc:spChg>
        <pc:spChg chg="mod topLvl">
          <ac:chgData name="Petro Petrashko (UA)" userId="5b2b3b98-3131-48c7-bb8a-19b196a36949" providerId="ADAL" clId="{351FE23D-61E3-4217-9757-ECF8C23312BF}" dt="2024-06-26T11:58:44.714" v="137" actId="165"/>
          <ac:spMkLst>
            <pc:docMk/>
            <pc:sldMk cId="397739886" sldId="2147482037"/>
            <ac:spMk id="15" creationId="{04702416-3F0E-9E89-EF83-2F7826A13003}"/>
          </ac:spMkLst>
        </pc:spChg>
        <pc:spChg chg="mod">
          <ac:chgData name="Petro Petrashko (UA)" userId="5b2b3b98-3131-48c7-bb8a-19b196a36949" providerId="ADAL" clId="{351FE23D-61E3-4217-9757-ECF8C23312BF}" dt="2024-06-26T12:00:23.093" v="152" actId="164"/>
          <ac:spMkLst>
            <pc:docMk/>
            <pc:sldMk cId="397739886" sldId="2147482037"/>
            <ac:spMk id="26" creationId="{65F98EEB-1867-24F1-F90B-94B60ABC7A1E}"/>
          </ac:spMkLst>
        </pc:spChg>
        <pc:spChg chg="mod">
          <ac:chgData name="Petro Petrashko (UA)" userId="5b2b3b98-3131-48c7-bb8a-19b196a36949" providerId="ADAL" clId="{351FE23D-61E3-4217-9757-ECF8C23312BF}" dt="2024-06-26T12:00:23.093" v="152" actId="164"/>
          <ac:spMkLst>
            <pc:docMk/>
            <pc:sldMk cId="397739886" sldId="2147482037"/>
            <ac:spMk id="27" creationId="{2BABB28D-F02F-3E81-098C-D01A3227AEA3}"/>
          </ac:spMkLst>
        </pc:spChg>
        <pc:spChg chg="mod">
          <ac:chgData name="Petro Petrashko (UA)" userId="5b2b3b98-3131-48c7-bb8a-19b196a36949" providerId="ADAL" clId="{351FE23D-61E3-4217-9757-ECF8C23312BF}" dt="2024-06-26T12:00:23.093" v="152" actId="164"/>
          <ac:spMkLst>
            <pc:docMk/>
            <pc:sldMk cId="397739886" sldId="2147482037"/>
            <ac:spMk id="28" creationId="{65AC1AB7-69ED-30EE-3EBA-6F49AA67C914}"/>
          </ac:spMkLst>
        </pc:spChg>
        <pc:spChg chg="mod">
          <ac:chgData name="Petro Petrashko (UA)" userId="5b2b3b98-3131-48c7-bb8a-19b196a36949" providerId="ADAL" clId="{351FE23D-61E3-4217-9757-ECF8C23312BF}" dt="2024-06-26T11:59:59.717" v="147" actId="164"/>
          <ac:spMkLst>
            <pc:docMk/>
            <pc:sldMk cId="397739886" sldId="2147482037"/>
            <ac:spMk id="29" creationId="{D0459FDC-3233-A1DB-B051-A449292A3271}"/>
          </ac:spMkLst>
        </pc:spChg>
        <pc:spChg chg="mod">
          <ac:chgData name="Petro Petrashko (UA)" userId="5b2b3b98-3131-48c7-bb8a-19b196a36949" providerId="ADAL" clId="{351FE23D-61E3-4217-9757-ECF8C23312BF}" dt="2024-06-26T11:59:59.717" v="147" actId="164"/>
          <ac:spMkLst>
            <pc:docMk/>
            <pc:sldMk cId="397739886" sldId="2147482037"/>
            <ac:spMk id="30" creationId="{56DDD360-1244-D50F-C2A3-BC5980E6824B}"/>
          </ac:spMkLst>
        </pc:spChg>
        <pc:spChg chg="mod">
          <ac:chgData name="Petro Petrashko (UA)" userId="5b2b3b98-3131-48c7-bb8a-19b196a36949" providerId="ADAL" clId="{351FE23D-61E3-4217-9757-ECF8C23312BF}" dt="2024-06-26T11:59:59.717" v="147" actId="164"/>
          <ac:spMkLst>
            <pc:docMk/>
            <pc:sldMk cId="397739886" sldId="2147482037"/>
            <ac:spMk id="31" creationId="{49EBE8B0-7F9A-2D45-0F8F-7DE8A1AA4190}"/>
          </ac:spMkLst>
        </pc:spChg>
        <pc:spChg chg="mod">
          <ac:chgData name="Petro Petrashko (UA)" userId="5b2b3b98-3131-48c7-bb8a-19b196a36949" providerId="ADAL" clId="{351FE23D-61E3-4217-9757-ECF8C23312BF}" dt="2024-06-26T12:00:20.271" v="151" actId="164"/>
          <ac:spMkLst>
            <pc:docMk/>
            <pc:sldMk cId="397739886" sldId="2147482037"/>
            <ac:spMk id="34" creationId="{12F0F6C0-438D-3E18-23F6-612713CE2115}"/>
          </ac:spMkLst>
        </pc:spChg>
        <pc:spChg chg="mod">
          <ac:chgData name="Petro Petrashko (UA)" userId="5b2b3b98-3131-48c7-bb8a-19b196a36949" providerId="ADAL" clId="{351FE23D-61E3-4217-9757-ECF8C23312BF}" dt="2024-06-26T12:00:20.271" v="151" actId="164"/>
          <ac:spMkLst>
            <pc:docMk/>
            <pc:sldMk cId="397739886" sldId="2147482037"/>
            <ac:spMk id="35" creationId="{3D6C46D7-181F-52AF-3604-AEBDF87FDBC8}"/>
          </ac:spMkLst>
        </pc:spChg>
        <pc:spChg chg="mod">
          <ac:chgData name="Petro Petrashko (UA)" userId="5b2b3b98-3131-48c7-bb8a-19b196a36949" providerId="ADAL" clId="{351FE23D-61E3-4217-9757-ECF8C23312BF}" dt="2024-06-26T12:00:20.271" v="151" actId="164"/>
          <ac:spMkLst>
            <pc:docMk/>
            <pc:sldMk cId="397739886" sldId="2147482037"/>
            <ac:spMk id="36" creationId="{E483E423-3961-DBAA-6FBD-63911D4A69DD}"/>
          </ac:spMkLst>
        </pc:spChg>
        <pc:spChg chg="mod topLvl">
          <ac:chgData name="Petro Petrashko (UA)" userId="5b2b3b98-3131-48c7-bb8a-19b196a36949" providerId="ADAL" clId="{351FE23D-61E3-4217-9757-ECF8C23312BF}" dt="2024-06-26T11:58:44.714" v="137" actId="165"/>
          <ac:spMkLst>
            <pc:docMk/>
            <pc:sldMk cId="397739886" sldId="2147482037"/>
            <ac:spMk id="57" creationId="{3C0183CD-5845-05C7-D216-BF050B7282B4}"/>
          </ac:spMkLst>
        </pc:spChg>
        <pc:spChg chg="mod topLvl">
          <ac:chgData name="Petro Petrashko (UA)" userId="5b2b3b98-3131-48c7-bb8a-19b196a36949" providerId="ADAL" clId="{351FE23D-61E3-4217-9757-ECF8C23312BF}" dt="2024-06-26T11:58:44.714" v="137" actId="165"/>
          <ac:spMkLst>
            <pc:docMk/>
            <pc:sldMk cId="397739886" sldId="2147482037"/>
            <ac:spMk id="58" creationId="{981760B5-459C-03C6-72A8-E29D8F60AF71}"/>
          </ac:spMkLst>
        </pc:spChg>
        <pc:spChg chg="mod topLvl">
          <ac:chgData name="Petro Petrashko (UA)" userId="5b2b3b98-3131-48c7-bb8a-19b196a36949" providerId="ADAL" clId="{351FE23D-61E3-4217-9757-ECF8C23312BF}" dt="2024-06-26T11:58:50.800" v="138" actId="14100"/>
          <ac:spMkLst>
            <pc:docMk/>
            <pc:sldMk cId="397739886" sldId="2147482037"/>
            <ac:spMk id="59" creationId="{832B2F95-73B0-29EB-38D5-C0F7E24D784C}"/>
          </ac:spMkLst>
        </pc:spChg>
        <pc:spChg chg="mod">
          <ac:chgData name="Petro Petrashko (UA)" userId="5b2b3b98-3131-48c7-bb8a-19b196a36949" providerId="ADAL" clId="{351FE23D-61E3-4217-9757-ECF8C23312BF}" dt="2024-06-26T12:00:10.251" v="149" actId="164"/>
          <ac:spMkLst>
            <pc:docMk/>
            <pc:sldMk cId="397739886" sldId="2147482037"/>
            <ac:spMk id="60" creationId="{69AC082A-899D-C3B0-421D-F82747759664}"/>
          </ac:spMkLst>
        </pc:spChg>
        <pc:spChg chg="mod">
          <ac:chgData name="Petro Petrashko (UA)" userId="5b2b3b98-3131-48c7-bb8a-19b196a36949" providerId="ADAL" clId="{351FE23D-61E3-4217-9757-ECF8C23312BF}" dt="2024-06-26T12:00:10.251" v="149" actId="164"/>
          <ac:spMkLst>
            <pc:docMk/>
            <pc:sldMk cId="397739886" sldId="2147482037"/>
            <ac:spMk id="61" creationId="{3E9975CB-98C1-D63F-B31F-2DF004165B9A}"/>
          </ac:spMkLst>
        </pc:spChg>
        <pc:spChg chg="mod">
          <ac:chgData name="Petro Petrashko (UA)" userId="5b2b3b98-3131-48c7-bb8a-19b196a36949" providerId="ADAL" clId="{351FE23D-61E3-4217-9757-ECF8C23312BF}" dt="2024-06-26T12:00:10.251" v="149" actId="164"/>
          <ac:spMkLst>
            <pc:docMk/>
            <pc:sldMk cId="397739886" sldId="2147482037"/>
            <ac:spMk id="65" creationId="{AB29024C-E5B6-39F7-7184-9CA1F128ECD5}"/>
          </ac:spMkLst>
        </pc:spChg>
        <pc:spChg chg="mod">
          <ac:chgData name="Petro Petrashko (UA)" userId="5b2b3b98-3131-48c7-bb8a-19b196a36949" providerId="ADAL" clId="{351FE23D-61E3-4217-9757-ECF8C23312BF}" dt="2024-06-26T12:00:12.192" v="150" actId="164"/>
          <ac:spMkLst>
            <pc:docMk/>
            <pc:sldMk cId="397739886" sldId="2147482037"/>
            <ac:spMk id="70" creationId="{7207570D-6BC3-69BD-FC5C-45A6B952F966}"/>
          </ac:spMkLst>
        </pc:spChg>
        <pc:spChg chg="mod">
          <ac:chgData name="Petro Petrashko (UA)" userId="5b2b3b98-3131-48c7-bb8a-19b196a36949" providerId="ADAL" clId="{351FE23D-61E3-4217-9757-ECF8C23312BF}" dt="2024-06-26T12:00:12.192" v="150" actId="164"/>
          <ac:spMkLst>
            <pc:docMk/>
            <pc:sldMk cId="397739886" sldId="2147482037"/>
            <ac:spMk id="71" creationId="{8AD510F6-20D5-AA5F-1048-A914947DAD38}"/>
          </ac:spMkLst>
        </pc:spChg>
        <pc:spChg chg="mod">
          <ac:chgData name="Petro Petrashko (UA)" userId="5b2b3b98-3131-48c7-bb8a-19b196a36949" providerId="ADAL" clId="{351FE23D-61E3-4217-9757-ECF8C23312BF}" dt="2024-06-26T12:00:12.192" v="150" actId="164"/>
          <ac:spMkLst>
            <pc:docMk/>
            <pc:sldMk cId="397739886" sldId="2147482037"/>
            <ac:spMk id="77" creationId="{3432C0A4-405D-441A-EB86-A22F12BE4238}"/>
          </ac:spMkLst>
        </pc:spChg>
        <pc:spChg chg="mod topLvl">
          <ac:chgData name="Petro Petrashko (UA)" userId="5b2b3b98-3131-48c7-bb8a-19b196a36949" providerId="ADAL" clId="{351FE23D-61E3-4217-9757-ECF8C23312BF}" dt="2024-06-26T11:59:13.602" v="143" actId="14100"/>
          <ac:spMkLst>
            <pc:docMk/>
            <pc:sldMk cId="397739886" sldId="2147482037"/>
            <ac:spMk id="78" creationId="{BE3E5224-9CA3-6737-AB60-A9BC8A74B53B}"/>
          </ac:spMkLst>
        </pc:spChg>
        <pc:spChg chg="mod topLvl">
          <ac:chgData name="Petro Petrashko (UA)" userId="5b2b3b98-3131-48c7-bb8a-19b196a36949" providerId="ADAL" clId="{351FE23D-61E3-4217-9757-ECF8C23312BF}" dt="2024-06-26T11:58:09.120" v="126" actId="165"/>
          <ac:spMkLst>
            <pc:docMk/>
            <pc:sldMk cId="397739886" sldId="2147482037"/>
            <ac:spMk id="79" creationId="{439A9964-36BC-352E-237D-2106921EBD2A}"/>
          </ac:spMkLst>
        </pc:spChg>
        <pc:spChg chg="mod topLvl">
          <ac:chgData name="Petro Petrashko (UA)" userId="5b2b3b98-3131-48c7-bb8a-19b196a36949" providerId="ADAL" clId="{351FE23D-61E3-4217-9757-ECF8C23312BF}" dt="2024-06-26T11:58:09.120" v="126" actId="165"/>
          <ac:spMkLst>
            <pc:docMk/>
            <pc:sldMk cId="397739886" sldId="2147482037"/>
            <ac:spMk id="84" creationId="{5A219F35-D58F-CAEF-157C-5D3E3F42A40E}"/>
          </ac:spMkLst>
        </pc:spChg>
        <pc:spChg chg="mod topLvl">
          <ac:chgData name="Petro Petrashko (UA)" userId="5b2b3b98-3131-48c7-bb8a-19b196a36949" providerId="ADAL" clId="{351FE23D-61E3-4217-9757-ECF8C23312BF}" dt="2024-06-26T11:59:13.602" v="143" actId="14100"/>
          <ac:spMkLst>
            <pc:docMk/>
            <pc:sldMk cId="397739886" sldId="2147482037"/>
            <ac:spMk id="85" creationId="{08B6BEF4-3A2A-EA8B-9B23-1077D45E646B}"/>
          </ac:spMkLst>
        </pc:spChg>
        <pc:spChg chg="mod topLvl">
          <ac:chgData name="Petro Petrashko (UA)" userId="5b2b3b98-3131-48c7-bb8a-19b196a36949" providerId="ADAL" clId="{351FE23D-61E3-4217-9757-ECF8C23312BF}" dt="2024-06-26T11:58:26.056" v="130" actId="552"/>
          <ac:spMkLst>
            <pc:docMk/>
            <pc:sldMk cId="397739886" sldId="2147482037"/>
            <ac:spMk id="86" creationId="{7DBFE9F6-0EC2-4655-B74B-264807A61F4D}"/>
          </ac:spMkLst>
        </pc:spChg>
        <pc:spChg chg="mod topLvl">
          <ac:chgData name="Petro Petrashko (UA)" userId="5b2b3b98-3131-48c7-bb8a-19b196a36949" providerId="ADAL" clId="{351FE23D-61E3-4217-9757-ECF8C23312BF}" dt="2024-06-26T11:58:09.120" v="126" actId="165"/>
          <ac:spMkLst>
            <pc:docMk/>
            <pc:sldMk cId="397739886" sldId="2147482037"/>
            <ac:spMk id="87" creationId="{B1411005-2AD1-BD0C-EC52-E1836D2C47CA}"/>
          </ac:spMkLst>
        </pc:spChg>
        <pc:grpChg chg="mod">
          <ac:chgData name="Petro Petrashko (UA)" userId="5b2b3b98-3131-48c7-bb8a-19b196a36949" providerId="ADAL" clId="{351FE23D-61E3-4217-9757-ECF8C23312BF}" dt="2024-06-26T11:58:42.101" v="136" actId="552"/>
          <ac:grpSpMkLst>
            <pc:docMk/>
            <pc:sldMk cId="397739886" sldId="2147482037"/>
            <ac:grpSpMk id="38" creationId="{2EB1887D-221C-E4B7-8417-096219E6162D}"/>
          </ac:grpSpMkLst>
        </pc:grpChg>
        <pc:grpChg chg="del">
          <ac:chgData name="Petro Petrashko (UA)" userId="5b2b3b98-3131-48c7-bb8a-19b196a36949" providerId="ADAL" clId="{351FE23D-61E3-4217-9757-ECF8C23312BF}" dt="2024-06-26T11:58:09.120" v="126" actId="165"/>
          <ac:grpSpMkLst>
            <pc:docMk/>
            <pc:sldMk cId="397739886" sldId="2147482037"/>
            <ac:grpSpMk id="89" creationId="{2B950FD8-C3EE-95B7-DB04-9DA6B60611A5}"/>
          </ac:grpSpMkLst>
        </pc:grpChg>
        <pc:grpChg chg="del">
          <ac:chgData name="Petro Petrashko (UA)" userId="5b2b3b98-3131-48c7-bb8a-19b196a36949" providerId="ADAL" clId="{351FE23D-61E3-4217-9757-ECF8C23312BF}" dt="2024-06-26T11:58:09.120" v="126" actId="165"/>
          <ac:grpSpMkLst>
            <pc:docMk/>
            <pc:sldMk cId="397739886" sldId="2147482037"/>
            <ac:grpSpMk id="90" creationId="{26048BE9-4692-8F2B-A707-199D1F1823B4}"/>
          </ac:grpSpMkLst>
        </pc:grpChg>
        <pc:grpChg chg="del">
          <ac:chgData name="Petro Petrashko (UA)" userId="5b2b3b98-3131-48c7-bb8a-19b196a36949" providerId="ADAL" clId="{351FE23D-61E3-4217-9757-ECF8C23312BF}" dt="2024-06-26T11:58:09.120" v="126" actId="165"/>
          <ac:grpSpMkLst>
            <pc:docMk/>
            <pc:sldMk cId="397739886" sldId="2147482037"/>
            <ac:grpSpMk id="92" creationId="{961F0A89-6AB8-16CA-7CC3-83AB5CA5E6FA}"/>
          </ac:grpSpMkLst>
        </pc:grpChg>
        <pc:grpChg chg="del">
          <ac:chgData name="Petro Petrashko (UA)" userId="5b2b3b98-3131-48c7-bb8a-19b196a36949" providerId="ADAL" clId="{351FE23D-61E3-4217-9757-ECF8C23312BF}" dt="2024-06-26T11:58:09.120" v="126" actId="165"/>
          <ac:grpSpMkLst>
            <pc:docMk/>
            <pc:sldMk cId="397739886" sldId="2147482037"/>
            <ac:grpSpMk id="93" creationId="{3BE257AE-A021-EBB4-B4D6-852D95483BA0}"/>
          </ac:grpSpMkLst>
        </pc:grpChg>
        <pc:grpChg chg="add del mod">
          <ac:chgData name="Petro Petrashko (UA)" userId="5b2b3b98-3131-48c7-bb8a-19b196a36949" providerId="ADAL" clId="{351FE23D-61E3-4217-9757-ECF8C23312BF}" dt="2024-06-26T11:58:44.714" v="137" actId="165"/>
          <ac:grpSpMkLst>
            <pc:docMk/>
            <pc:sldMk cId="397739886" sldId="2147482037"/>
            <ac:grpSpMk id="94" creationId="{3BD730C1-AD51-C491-D94A-47F294E044BC}"/>
          </ac:grpSpMkLst>
        </pc:grpChg>
        <pc:grpChg chg="add del mod">
          <ac:chgData name="Petro Petrashko (UA)" userId="5b2b3b98-3131-48c7-bb8a-19b196a36949" providerId="ADAL" clId="{351FE23D-61E3-4217-9757-ECF8C23312BF}" dt="2024-06-26T11:58:44.714" v="137" actId="165"/>
          <ac:grpSpMkLst>
            <pc:docMk/>
            <pc:sldMk cId="397739886" sldId="2147482037"/>
            <ac:grpSpMk id="95" creationId="{E5CFE80A-A389-7422-5E5D-6C0C17AA4417}"/>
          </ac:grpSpMkLst>
        </pc:grpChg>
        <pc:grpChg chg="add mod">
          <ac:chgData name="Petro Petrashko (UA)" userId="5b2b3b98-3131-48c7-bb8a-19b196a36949" providerId="ADAL" clId="{351FE23D-61E3-4217-9757-ECF8C23312BF}" dt="2024-06-26T11:59:59.717" v="147" actId="164"/>
          <ac:grpSpMkLst>
            <pc:docMk/>
            <pc:sldMk cId="397739886" sldId="2147482037"/>
            <ac:grpSpMk id="96" creationId="{F20D40B7-8FC9-DA8E-E935-54637CFCC2B5}"/>
          </ac:grpSpMkLst>
        </pc:grpChg>
        <pc:grpChg chg="add mod">
          <ac:chgData name="Petro Petrashko (UA)" userId="5b2b3b98-3131-48c7-bb8a-19b196a36949" providerId="ADAL" clId="{351FE23D-61E3-4217-9757-ECF8C23312BF}" dt="2024-06-26T12:00:29.298" v="153" actId="465"/>
          <ac:grpSpMkLst>
            <pc:docMk/>
            <pc:sldMk cId="397739886" sldId="2147482037"/>
            <ac:grpSpMk id="97" creationId="{40F4994B-1145-82B6-EC02-E5C9CCEE65F7}"/>
          </ac:grpSpMkLst>
        </pc:grpChg>
        <pc:grpChg chg="add mod">
          <ac:chgData name="Petro Petrashko (UA)" userId="5b2b3b98-3131-48c7-bb8a-19b196a36949" providerId="ADAL" clId="{351FE23D-61E3-4217-9757-ECF8C23312BF}" dt="2024-06-26T12:00:29.298" v="153" actId="465"/>
          <ac:grpSpMkLst>
            <pc:docMk/>
            <pc:sldMk cId="397739886" sldId="2147482037"/>
            <ac:grpSpMk id="109" creationId="{3DDF5F00-935D-4285-798A-D647982E65FB}"/>
          </ac:grpSpMkLst>
        </pc:grpChg>
        <pc:grpChg chg="add mod">
          <ac:chgData name="Petro Petrashko (UA)" userId="5b2b3b98-3131-48c7-bb8a-19b196a36949" providerId="ADAL" clId="{351FE23D-61E3-4217-9757-ECF8C23312BF}" dt="2024-06-26T12:00:29.298" v="153" actId="465"/>
          <ac:grpSpMkLst>
            <pc:docMk/>
            <pc:sldMk cId="397739886" sldId="2147482037"/>
            <ac:grpSpMk id="110" creationId="{D8639795-6572-1F0E-36C4-49C46A91FCF9}"/>
          </ac:grpSpMkLst>
        </pc:grpChg>
        <pc:grpChg chg="add mod">
          <ac:chgData name="Petro Petrashko (UA)" userId="5b2b3b98-3131-48c7-bb8a-19b196a36949" providerId="ADAL" clId="{351FE23D-61E3-4217-9757-ECF8C23312BF}" dt="2024-06-26T12:00:23.093" v="152" actId="164"/>
          <ac:grpSpMkLst>
            <pc:docMk/>
            <pc:sldMk cId="397739886" sldId="2147482037"/>
            <ac:grpSpMk id="111" creationId="{4C335918-7D9C-97F0-3EEB-64ECCADA1A45}"/>
          </ac:grpSpMkLst>
        </pc:grpChg>
        <pc:cxnChg chg="mod">
          <ac:chgData name="Petro Petrashko (UA)" userId="5b2b3b98-3131-48c7-bb8a-19b196a36949" providerId="ADAL" clId="{351FE23D-61E3-4217-9757-ECF8C23312BF}" dt="2024-06-26T12:00:29.298" v="153" actId="465"/>
          <ac:cxnSpMkLst>
            <pc:docMk/>
            <pc:sldMk cId="397739886" sldId="2147482037"/>
            <ac:cxnSpMk id="32" creationId="{6FB9FF39-FB37-F7B7-7BB8-D586ABC87424}"/>
          </ac:cxnSpMkLst>
        </pc:cxnChg>
        <pc:cxnChg chg="mod">
          <ac:chgData name="Petro Petrashko (UA)" userId="5b2b3b98-3131-48c7-bb8a-19b196a36949" providerId="ADAL" clId="{351FE23D-61E3-4217-9757-ECF8C23312BF}" dt="2024-06-26T12:00:29.298" v="153" actId="465"/>
          <ac:cxnSpMkLst>
            <pc:docMk/>
            <pc:sldMk cId="397739886" sldId="2147482037"/>
            <ac:cxnSpMk id="33" creationId="{EE8A2E9F-E0AC-CE3E-DCBA-C0CF411D77C5}"/>
          </ac:cxnSpMkLst>
        </pc:cxnChg>
        <pc:cxnChg chg="mod">
          <ac:chgData name="Petro Petrashko (UA)" userId="5b2b3b98-3131-48c7-bb8a-19b196a36949" providerId="ADAL" clId="{351FE23D-61E3-4217-9757-ECF8C23312BF}" dt="2024-06-26T12:00:29.298" v="153" actId="465"/>
          <ac:cxnSpMkLst>
            <pc:docMk/>
            <pc:sldMk cId="397739886" sldId="2147482037"/>
            <ac:cxnSpMk id="37" creationId="{CF5AD291-53EC-695B-A24D-BBB181836C29}"/>
          </ac:cxnSpMkLst>
        </pc:cxnChg>
        <pc:cxnChg chg="mod">
          <ac:chgData name="Petro Petrashko (UA)" userId="5b2b3b98-3131-48c7-bb8a-19b196a36949" providerId="ADAL" clId="{351FE23D-61E3-4217-9757-ECF8C23312BF}" dt="2024-06-26T11:58:31.409" v="133" actId="552"/>
          <ac:cxnSpMkLst>
            <pc:docMk/>
            <pc:sldMk cId="397739886" sldId="2147482037"/>
            <ac:cxnSpMk id="56" creationId="{580FC50D-4710-A5D4-477D-599F2A77B01F}"/>
          </ac:cxnSpMkLst>
        </pc:cxnChg>
        <pc:cxnChg chg="mod">
          <ac:chgData name="Petro Petrashko (UA)" userId="5b2b3b98-3131-48c7-bb8a-19b196a36949" providerId="ADAL" clId="{351FE23D-61E3-4217-9757-ECF8C23312BF}" dt="2024-06-26T12:00:29.298" v="153" actId="465"/>
          <ac:cxnSpMkLst>
            <pc:docMk/>
            <pc:sldMk cId="397739886" sldId="2147482037"/>
            <ac:cxnSpMk id="69" creationId="{62ADF71A-913A-C361-3477-FA98B60521EE}"/>
          </ac:cxnSpMkLst>
        </pc:cxnChg>
      </pc:sldChg>
      <pc:sldChg chg="mod ord modShow">
        <pc:chgData name="Petro Petrashko (UA)" userId="5b2b3b98-3131-48c7-bb8a-19b196a36949" providerId="ADAL" clId="{351FE23D-61E3-4217-9757-ECF8C23312BF}" dt="2024-06-26T10:34:16.928" v="6" actId="729"/>
        <pc:sldMkLst>
          <pc:docMk/>
          <pc:sldMk cId="1070168670" sldId="2147482105"/>
        </pc:sldMkLst>
      </pc:sldChg>
    </pc:docChg>
  </pc:docChgLst>
  <pc:docChgLst>
    <pc:chgData name="Sindija Kirsteine (LV)" userId="5f25501a-2215-4bb3-9d9c-8d1484ffa7c1" providerId="ADAL" clId="{BFEEA593-3692-41DC-B587-87BBF46A0B94}"/>
    <pc:docChg chg="custSel modSld replTag">
      <pc:chgData name="Sindija Kirsteine (LV)" userId="5f25501a-2215-4bb3-9d9c-8d1484ffa7c1" providerId="ADAL" clId="{BFEEA593-3692-41DC-B587-87BBF46A0B94}" dt="2024-09-02T07:21:41.120" v="48"/>
      <pc:docMkLst>
        <pc:docMk/>
      </pc:docMkLst>
      <pc:sldChg chg="modSp mod">
        <pc:chgData name="Sindija Kirsteine (LV)" userId="5f25501a-2215-4bb3-9d9c-8d1484ffa7c1" providerId="ADAL" clId="{BFEEA593-3692-41DC-B587-87BBF46A0B94}" dt="2024-09-02T07:21:31.950" v="42" actId="21"/>
        <pc:sldMkLst>
          <pc:docMk/>
          <pc:sldMk cId="3379316605" sldId="2147482086"/>
        </pc:sldMkLst>
        <pc:spChg chg="mod">
          <ac:chgData name="Sindija Kirsteine (LV)" userId="5f25501a-2215-4bb3-9d9c-8d1484ffa7c1" providerId="ADAL" clId="{BFEEA593-3692-41DC-B587-87BBF46A0B94}" dt="2024-09-02T07:21:31.950" v="42" actId="21"/>
          <ac:spMkLst>
            <pc:docMk/>
            <pc:sldMk cId="3379316605" sldId="2147482086"/>
            <ac:spMk id="24" creationId="{20F6161A-E3E2-A765-A44D-92728895AC83}"/>
          </ac:spMkLst>
        </pc:spChg>
      </pc:sldChg>
      <pc:sldChg chg="modSp mod">
        <pc:chgData name="Sindija Kirsteine (LV)" userId="5f25501a-2215-4bb3-9d9c-8d1484ffa7c1" providerId="ADAL" clId="{BFEEA593-3692-41DC-B587-87BBF46A0B94}" dt="2024-09-02T07:21:37.344" v="47" actId="20577"/>
        <pc:sldMkLst>
          <pc:docMk/>
          <pc:sldMk cId="1080075523" sldId="2147482087"/>
        </pc:sldMkLst>
        <pc:spChg chg="mod">
          <ac:chgData name="Sindija Kirsteine (LV)" userId="5f25501a-2215-4bb3-9d9c-8d1484ffa7c1" providerId="ADAL" clId="{BFEEA593-3692-41DC-B587-87BBF46A0B94}" dt="2024-09-02T07:21:37.344" v="47" actId="20577"/>
          <ac:spMkLst>
            <pc:docMk/>
            <pc:sldMk cId="1080075523" sldId="2147482087"/>
            <ac:spMk id="24" creationId="{20F6161A-E3E2-A765-A44D-92728895AC83}"/>
          </ac:spMkLst>
        </pc:spChg>
      </pc:sldChg>
    </pc:docChg>
  </pc:docChgLst>
  <pc:docChgLst>
    <pc:chgData name="Annemarija Apine (LV)" userId="546f5c59-3b8d-47fd-b739-a8fadc631053" providerId="ADAL" clId="{9261B257-D8AF-4BC0-86C8-CC835714A4DB}"/>
    <pc:docChg chg="undo custSel modSld replTag">
      <pc:chgData name="Annemarija Apine (LV)" userId="546f5c59-3b8d-47fd-b739-a8fadc631053" providerId="ADAL" clId="{9261B257-D8AF-4BC0-86C8-CC835714A4DB}" dt="2024-06-26T11:38:14.049" v="214"/>
      <pc:docMkLst>
        <pc:docMk/>
      </pc:docMkLst>
      <pc:sldChg chg="addSp delSp modSp mod">
        <pc:chgData name="Annemarija Apine (LV)" userId="546f5c59-3b8d-47fd-b739-a8fadc631053" providerId="ADAL" clId="{9261B257-D8AF-4BC0-86C8-CC835714A4DB}" dt="2024-06-26T11:20:40.182" v="73" actId="478"/>
        <pc:sldMkLst>
          <pc:docMk/>
          <pc:sldMk cId="2214180997" sldId="2147481982"/>
        </pc:sldMkLst>
        <pc:picChg chg="add del mod">
          <ac:chgData name="Annemarija Apine (LV)" userId="546f5c59-3b8d-47fd-b739-a8fadc631053" providerId="ADAL" clId="{9261B257-D8AF-4BC0-86C8-CC835714A4DB}" dt="2024-06-26T11:20:40.182" v="73" actId="478"/>
          <ac:picMkLst>
            <pc:docMk/>
            <pc:sldMk cId="2214180997" sldId="2147481982"/>
            <ac:picMk id="10" creationId="{A4A04257-2D57-8581-8FD0-4EC35D248D02}"/>
          </ac:picMkLst>
        </pc:picChg>
      </pc:sldChg>
      <pc:sldChg chg="delSp modSp mod">
        <pc:chgData name="Annemarija Apine (LV)" userId="546f5c59-3b8d-47fd-b739-a8fadc631053" providerId="ADAL" clId="{9261B257-D8AF-4BC0-86C8-CC835714A4DB}" dt="2024-06-26T11:23:14.722" v="95" actId="14100"/>
        <pc:sldMkLst>
          <pc:docMk/>
          <pc:sldMk cId="28118731" sldId="2147481984"/>
        </pc:sldMkLst>
        <pc:spChg chg="mod">
          <ac:chgData name="Annemarija Apine (LV)" userId="546f5c59-3b8d-47fd-b739-a8fadc631053" providerId="ADAL" clId="{9261B257-D8AF-4BC0-86C8-CC835714A4DB}" dt="2024-06-26T11:23:14.722" v="95" actId="14100"/>
          <ac:spMkLst>
            <pc:docMk/>
            <pc:sldMk cId="28118731" sldId="2147481984"/>
            <ac:spMk id="52" creationId="{54140961-D367-FFB1-E0FC-3F385487D472}"/>
          </ac:spMkLst>
        </pc:spChg>
        <pc:spChg chg="del">
          <ac:chgData name="Annemarija Apine (LV)" userId="546f5c59-3b8d-47fd-b739-a8fadc631053" providerId="ADAL" clId="{9261B257-D8AF-4BC0-86C8-CC835714A4DB}" dt="2024-06-26T11:23:10.395" v="94" actId="478"/>
          <ac:spMkLst>
            <pc:docMk/>
            <pc:sldMk cId="28118731" sldId="2147481984"/>
            <ac:spMk id="64" creationId="{C8839363-023E-6108-2610-F9869562BA65}"/>
          </ac:spMkLst>
        </pc:spChg>
        <pc:spChg chg="del">
          <ac:chgData name="Annemarija Apine (LV)" userId="546f5c59-3b8d-47fd-b739-a8fadc631053" providerId="ADAL" clId="{9261B257-D8AF-4BC0-86C8-CC835714A4DB}" dt="2024-06-26T11:23:10.395" v="94" actId="478"/>
          <ac:spMkLst>
            <pc:docMk/>
            <pc:sldMk cId="28118731" sldId="2147481984"/>
            <ac:spMk id="91" creationId="{923ED525-0203-6BC5-F3E8-8ABB7C0A1DD9}"/>
          </ac:spMkLst>
        </pc:spChg>
        <pc:spChg chg="del">
          <ac:chgData name="Annemarija Apine (LV)" userId="546f5c59-3b8d-47fd-b739-a8fadc631053" providerId="ADAL" clId="{9261B257-D8AF-4BC0-86C8-CC835714A4DB}" dt="2024-06-26T11:23:10.395" v="94" actId="478"/>
          <ac:spMkLst>
            <pc:docMk/>
            <pc:sldMk cId="28118731" sldId="2147481984"/>
            <ac:spMk id="92" creationId="{97672140-6C3A-9556-1AB0-06A807124770}"/>
          </ac:spMkLst>
        </pc:spChg>
      </pc:sldChg>
      <pc:sldChg chg="modSp mod">
        <pc:chgData name="Annemarija Apine (LV)" userId="546f5c59-3b8d-47fd-b739-a8fadc631053" providerId="ADAL" clId="{9261B257-D8AF-4BC0-86C8-CC835714A4DB}" dt="2024-06-26T11:30:59.624" v="194" actId="255"/>
        <pc:sldMkLst>
          <pc:docMk/>
          <pc:sldMk cId="802236342" sldId="2147481991"/>
        </pc:sldMkLst>
        <pc:spChg chg="mod">
          <ac:chgData name="Annemarija Apine (LV)" userId="546f5c59-3b8d-47fd-b739-a8fadc631053" providerId="ADAL" clId="{9261B257-D8AF-4BC0-86C8-CC835714A4DB}" dt="2024-06-26T11:30:59.624" v="194" actId="255"/>
          <ac:spMkLst>
            <pc:docMk/>
            <pc:sldMk cId="802236342" sldId="2147481991"/>
            <ac:spMk id="22" creationId="{DAE9E604-1C25-457F-090B-9B5F2D4E578F}"/>
          </ac:spMkLst>
        </pc:spChg>
      </pc:sldChg>
    </pc:docChg>
  </pc:docChgLst>
  <pc:docChgLst>
    <pc:chgData name="Sindija Kirsteine (LV)" userId="5f25501a-2215-4bb3-9d9c-8d1484ffa7c1" providerId="ADAL" clId="{C6FE5384-FA14-4D15-9A02-5A0726F41FDA}"/>
    <pc:docChg chg="custSel modSld replTag">
      <pc:chgData name="Sindija Kirsteine (LV)" userId="5f25501a-2215-4bb3-9d9c-8d1484ffa7c1" providerId="ADAL" clId="{C6FE5384-FA14-4D15-9A02-5A0726F41FDA}" dt="2024-06-26T15:13:25.818" v="77"/>
      <pc:docMkLst>
        <pc:docMk/>
      </pc:docMkLst>
      <pc:sldChg chg="modSp mod">
        <pc:chgData name="Sindija Kirsteine (LV)" userId="5f25501a-2215-4bb3-9d9c-8d1484ffa7c1" providerId="ADAL" clId="{C6FE5384-FA14-4D15-9A02-5A0726F41FDA}" dt="2024-06-26T15:09:21.749" v="5" actId="207"/>
        <pc:sldMkLst>
          <pc:docMk/>
          <pc:sldMk cId="0" sldId="527"/>
        </pc:sldMkLst>
        <pc:spChg chg="mod">
          <ac:chgData name="Sindija Kirsteine (LV)" userId="5f25501a-2215-4bb3-9d9c-8d1484ffa7c1" providerId="ADAL" clId="{C6FE5384-FA14-4D15-9A02-5A0726F41FDA}" dt="2024-06-26T15:09:21.749" v="5" actId="207"/>
          <ac:spMkLst>
            <pc:docMk/>
            <pc:sldMk cId="0" sldId="527"/>
            <ac:spMk id="12" creationId="{2B9CA849-0AC4-22D0-C79E-0B127C7E1E88}"/>
          </ac:spMkLst>
        </pc:spChg>
      </pc:sldChg>
      <pc:sldChg chg="delCm">
        <pc:chgData name="Sindija Kirsteine (LV)" userId="5f25501a-2215-4bb3-9d9c-8d1484ffa7c1" providerId="ADAL" clId="{C6FE5384-FA14-4D15-9A02-5A0726F41FDA}" dt="2024-06-26T15:09:50.019" v="22"/>
        <pc:sldMkLst>
          <pc:docMk/>
          <pc:sldMk cId="4093114022" sldId="644"/>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09:50.019" v="22"/>
              <pc2:cmMkLst xmlns:pc2="http://schemas.microsoft.com/office/powerpoint/2019/9/main/command">
                <pc:docMk/>
                <pc:sldMk cId="4093114022" sldId="644"/>
                <pc2:cmMk id="{CC87D69E-961E-4BF7-8885-A64FEE3F5D1C}"/>
              </pc2:cmMkLst>
            </pc226:cmChg>
          </p:ext>
        </pc:extLst>
      </pc:sldChg>
      <pc:sldChg chg="modSp mod delCm">
        <pc:chgData name="Sindija Kirsteine (LV)" userId="5f25501a-2215-4bb3-9d9c-8d1484ffa7c1" providerId="ADAL" clId="{C6FE5384-FA14-4D15-9A02-5A0726F41FDA}" dt="2024-06-26T15:09:16.158" v="3"/>
        <pc:sldMkLst>
          <pc:docMk/>
          <pc:sldMk cId="3627720504" sldId="2147481927"/>
        </pc:sldMkLst>
        <pc:spChg chg="mod">
          <ac:chgData name="Sindija Kirsteine (LV)" userId="5f25501a-2215-4bb3-9d9c-8d1484ffa7c1" providerId="ADAL" clId="{C6FE5384-FA14-4D15-9A02-5A0726F41FDA}" dt="2024-06-26T15:09:12.913" v="2" actId="207"/>
          <ac:spMkLst>
            <pc:docMk/>
            <pc:sldMk cId="3627720504" sldId="2147481927"/>
            <ac:spMk id="3" creationId="{4EF6DB77-182C-C281-1C2F-C2E2D9AB6583}"/>
          </ac:spMkLst>
        </pc:spChg>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09:16.158" v="3"/>
              <pc2:cmMkLst xmlns:pc2="http://schemas.microsoft.com/office/powerpoint/2019/9/main/command">
                <pc:docMk/>
                <pc:sldMk cId="3627720504" sldId="2147481927"/>
                <pc2:cmMk id="{92B10945-D063-4ABB-A735-F8650C6D12F6}"/>
              </pc2:cmMkLst>
            </pc226:cmChg>
          </p:ext>
        </pc:extLst>
      </pc:sldChg>
      <pc:sldChg chg="delCm">
        <pc:chgData name="Sindija Kirsteine (LV)" userId="5f25501a-2215-4bb3-9d9c-8d1484ffa7c1" providerId="ADAL" clId="{C6FE5384-FA14-4D15-9A02-5A0726F41FDA}" dt="2024-06-26T15:09:38.522" v="16"/>
        <pc:sldMkLst>
          <pc:docMk/>
          <pc:sldMk cId="2214180997" sldId="2147481982"/>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09:38.522" v="16"/>
              <pc2:cmMkLst xmlns:pc2="http://schemas.microsoft.com/office/powerpoint/2019/9/main/command">
                <pc:docMk/>
                <pc:sldMk cId="2214180997" sldId="2147481982"/>
                <pc2:cmMk id="{C4AC9989-EF57-4649-B8EA-CA1106933571}"/>
              </pc2:cmMkLst>
            </pc226:cmChg>
            <pc226:cmChg xmlns:pc226="http://schemas.microsoft.com/office/powerpoint/2022/06/main/command" chg="del">
              <pc226:chgData name="Sindija Kirsteine (LV)" userId="5f25501a-2215-4bb3-9d9c-8d1484ffa7c1" providerId="ADAL" clId="{C6FE5384-FA14-4D15-9A02-5A0726F41FDA}" dt="2024-06-26T15:09:37.191" v="15"/>
              <pc2:cmMkLst xmlns:pc2="http://schemas.microsoft.com/office/powerpoint/2019/9/main/command">
                <pc:docMk/>
                <pc:sldMk cId="2214180997" sldId="2147481982"/>
                <pc2:cmMk id="{AE6F57BF-8C1D-4D08-B0C7-8837B5033847}"/>
              </pc2:cmMkLst>
            </pc226:cmChg>
          </p:ext>
        </pc:extLst>
      </pc:sldChg>
      <pc:sldChg chg="delCm">
        <pc:chgData name="Sindija Kirsteine (LV)" userId="5f25501a-2215-4bb3-9d9c-8d1484ffa7c1" providerId="ADAL" clId="{C6FE5384-FA14-4D15-9A02-5A0726F41FDA}" dt="2024-06-26T15:10:03.352" v="30"/>
        <pc:sldMkLst>
          <pc:docMk/>
          <pc:sldMk cId="802236342" sldId="2147481991"/>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10:03.352" v="30"/>
              <pc2:cmMkLst xmlns:pc2="http://schemas.microsoft.com/office/powerpoint/2019/9/main/command">
                <pc:docMk/>
                <pc:sldMk cId="802236342" sldId="2147481991"/>
                <pc2:cmMk id="{3C8807EE-4173-4A83-941A-51163258CE14}"/>
              </pc2:cmMkLst>
            </pc226:cmChg>
          </p:ext>
        </pc:extLst>
      </pc:sldChg>
      <pc:sldChg chg="delCm">
        <pc:chgData name="Sindija Kirsteine (LV)" userId="5f25501a-2215-4bb3-9d9c-8d1484ffa7c1" providerId="ADAL" clId="{C6FE5384-FA14-4D15-9A02-5A0726F41FDA}" dt="2024-06-26T15:10:00.357" v="28"/>
        <pc:sldMkLst>
          <pc:docMk/>
          <pc:sldMk cId="1613844391" sldId="2147481992"/>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10:00.357" v="28"/>
              <pc2:cmMkLst xmlns:pc2="http://schemas.microsoft.com/office/powerpoint/2019/9/main/command">
                <pc:docMk/>
                <pc:sldMk cId="1613844391" sldId="2147481992"/>
                <pc2:cmMk id="{86E85305-CBFF-4095-AFDE-F06BD32003C3}"/>
              </pc2:cmMkLst>
            </pc226:cmChg>
          </p:ext>
        </pc:extLst>
      </pc:sldChg>
      <pc:sldChg chg="delCm">
        <pc:chgData name="Sindija Kirsteine (LV)" userId="5f25501a-2215-4bb3-9d9c-8d1484ffa7c1" providerId="ADAL" clId="{C6FE5384-FA14-4D15-9A02-5A0726F41FDA}" dt="2024-06-26T15:09:42.381" v="18"/>
        <pc:sldMkLst>
          <pc:docMk/>
          <pc:sldMk cId="1791248831" sldId="2147482012"/>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09:42.381" v="18"/>
              <pc2:cmMkLst xmlns:pc2="http://schemas.microsoft.com/office/powerpoint/2019/9/main/command">
                <pc:docMk/>
                <pc:sldMk cId="1791248831" sldId="2147482012"/>
                <pc2:cmMk id="{076195FD-6758-49F6-A8B1-EF2326D1098C}"/>
              </pc2:cmMkLst>
            </pc226:cmChg>
          </p:ext>
        </pc:extLst>
      </pc:sldChg>
      <pc:sldChg chg="delCm">
        <pc:chgData name="Sindija Kirsteine (LV)" userId="5f25501a-2215-4bb3-9d9c-8d1484ffa7c1" providerId="ADAL" clId="{C6FE5384-FA14-4D15-9A02-5A0726F41FDA}" dt="2024-06-26T15:09:45.379" v="20"/>
        <pc:sldMkLst>
          <pc:docMk/>
          <pc:sldMk cId="2403530007" sldId="2147482019"/>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09:45.379" v="20"/>
              <pc2:cmMkLst xmlns:pc2="http://schemas.microsoft.com/office/powerpoint/2019/9/main/command">
                <pc:docMk/>
                <pc:sldMk cId="2403530007" sldId="2147482019"/>
                <pc2:cmMk id="{02CBE78D-7408-4FAF-9D53-CDA36AC5E0AB}"/>
              </pc2:cmMkLst>
            </pc226:cmChg>
          </p:ext>
        </pc:extLst>
      </pc:sldChg>
      <pc:sldChg chg="delCm">
        <pc:chgData name="Sindija Kirsteine (LV)" userId="5f25501a-2215-4bb3-9d9c-8d1484ffa7c1" providerId="ADAL" clId="{C6FE5384-FA14-4D15-9A02-5A0726F41FDA}" dt="2024-06-26T15:09:52.834" v="24"/>
        <pc:sldMkLst>
          <pc:docMk/>
          <pc:sldMk cId="397739886" sldId="2147482037"/>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09:52.834" v="24"/>
              <pc2:cmMkLst xmlns:pc2="http://schemas.microsoft.com/office/powerpoint/2019/9/main/command">
                <pc:docMk/>
                <pc:sldMk cId="397739886" sldId="2147482037"/>
                <pc2:cmMk id="{91553C0B-D700-41F4-997A-C62660831CB6}"/>
              </pc2:cmMkLst>
            </pc226:cmChg>
          </p:ext>
        </pc:extLst>
      </pc:sldChg>
      <pc:sldChg chg="delCm">
        <pc:chgData name="Sindija Kirsteine (LV)" userId="5f25501a-2215-4bb3-9d9c-8d1484ffa7c1" providerId="ADAL" clId="{C6FE5384-FA14-4D15-9A02-5A0726F41FDA}" dt="2024-06-26T15:09:56.110" v="26"/>
        <pc:sldMkLst>
          <pc:docMk/>
          <pc:sldMk cId="266540937" sldId="2147482091"/>
        </pc:sldMkLst>
        <pc:extLst>
          <p:ext xmlns:p="http://schemas.openxmlformats.org/presentationml/2006/main" uri="{D6D511B9-2390-475A-947B-AFAB55BFBCF1}">
            <pc226:cmChg xmlns:pc226="http://schemas.microsoft.com/office/powerpoint/2022/06/main/command" chg="del">
              <pc226:chgData name="Sindija Kirsteine (LV)" userId="5f25501a-2215-4bb3-9d9c-8d1484ffa7c1" providerId="ADAL" clId="{C6FE5384-FA14-4D15-9A02-5A0726F41FDA}" dt="2024-06-26T15:09:56.110" v="26"/>
              <pc2:cmMkLst xmlns:pc2="http://schemas.microsoft.com/office/powerpoint/2019/9/main/command">
                <pc:docMk/>
                <pc:sldMk cId="266540937" sldId="2147482091"/>
                <pc2:cmMk id="{AD3A2245-7D6F-4200-BB33-EA661264C28F}"/>
              </pc2:cmMkLst>
            </pc226:cmChg>
          </p:ext>
        </pc:extLst>
      </pc:sldChg>
    </pc:docChg>
  </pc:docChgLst>
  <pc:docChgLst>
    <pc:chgData name="Sindija Kirsteine (LV)" userId="5f25501a-2215-4bb3-9d9c-8d1484ffa7c1" providerId="ADAL" clId="{5C659B16-48DB-453B-907A-8EA353AF644C}"/>
    <pc:docChg chg="undo custSel mod addSld delSld modSld replTag">
      <pc:chgData name="Sindija Kirsteine (LV)" userId="5f25501a-2215-4bb3-9d9c-8d1484ffa7c1" providerId="ADAL" clId="{5C659B16-48DB-453B-907A-8EA353AF644C}" dt="2024-06-26T14:39:11.773" v="1437"/>
      <pc:docMkLst>
        <pc:docMk/>
      </pc:docMkLst>
      <pc:sldChg chg="addSp delSp modSp mod modCm">
        <pc:chgData name="Sindija Kirsteine (LV)" userId="5f25501a-2215-4bb3-9d9c-8d1484ffa7c1" providerId="ADAL" clId="{5C659B16-48DB-453B-907A-8EA353AF644C}" dt="2024-06-26T12:07:37.869" v="1044" actId="20577"/>
        <pc:sldMkLst>
          <pc:docMk/>
          <pc:sldMk cId="2214180997" sldId="2147481982"/>
        </pc:sldMkLst>
        <pc:spChg chg="mod">
          <ac:chgData name="Sindija Kirsteine (LV)" userId="5f25501a-2215-4bb3-9d9c-8d1484ffa7c1" providerId="ADAL" clId="{5C659B16-48DB-453B-907A-8EA353AF644C}" dt="2024-06-26T12:07:17.504" v="1035" actId="20577"/>
          <ac:spMkLst>
            <pc:docMk/>
            <pc:sldMk cId="2214180997" sldId="2147481982"/>
            <ac:spMk id="2" creationId="{EC47296D-9568-ED7D-0457-80174E2BF2F8}"/>
          </ac:spMkLst>
        </pc:spChg>
        <pc:spChg chg="del">
          <ac:chgData name="Sindija Kirsteine (LV)" userId="5f25501a-2215-4bb3-9d9c-8d1484ffa7c1" providerId="ADAL" clId="{5C659B16-48DB-453B-907A-8EA353AF644C}" dt="2024-06-26T11:32:36.474" v="237" actId="478"/>
          <ac:spMkLst>
            <pc:docMk/>
            <pc:sldMk cId="2214180997" sldId="2147481982"/>
            <ac:spMk id="14" creationId="{69CFE8AA-8BE2-A62E-A1B9-8B4AE9C53218}"/>
          </ac:spMkLst>
        </pc:spChg>
        <pc:spChg chg="del">
          <ac:chgData name="Sindija Kirsteine (LV)" userId="5f25501a-2215-4bb3-9d9c-8d1484ffa7c1" providerId="ADAL" clId="{5C659B16-48DB-453B-907A-8EA353AF644C}" dt="2024-06-26T11:34:48.947" v="447" actId="478"/>
          <ac:spMkLst>
            <pc:docMk/>
            <pc:sldMk cId="2214180997" sldId="2147481982"/>
            <ac:spMk id="17" creationId="{F910971B-2255-41F9-8303-8F4AF0AD11A8}"/>
          </ac:spMkLst>
        </pc:spChg>
        <pc:spChg chg="del">
          <ac:chgData name="Sindija Kirsteine (LV)" userId="5f25501a-2215-4bb3-9d9c-8d1484ffa7c1" providerId="ADAL" clId="{5C659B16-48DB-453B-907A-8EA353AF644C}" dt="2024-06-26T11:32:36.474" v="237" actId="478"/>
          <ac:spMkLst>
            <pc:docMk/>
            <pc:sldMk cId="2214180997" sldId="2147481982"/>
            <ac:spMk id="18" creationId="{B8EA7805-296B-5D47-944C-D538156BAD89}"/>
          </ac:spMkLst>
        </pc:spChg>
        <pc:spChg chg="del">
          <ac:chgData name="Sindija Kirsteine (LV)" userId="5f25501a-2215-4bb3-9d9c-8d1484ffa7c1" providerId="ADAL" clId="{5C659B16-48DB-453B-907A-8EA353AF644C}" dt="2024-06-26T11:32:36.474" v="237" actId="478"/>
          <ac:spMkLst>
            <pc:docMk/>
            <pc:sldMk cId="2214180997" sldId="2147481982"/>
            <ac:spMk id="19" creationId="{C0C5A184-30D0-DA46-BFBE-D02A00834DD6}"/>
          </ac:spMkLst>
        </pc:spChg>
        <pc:spChg chg="mod">
          <ac:chgData name="Sindija Kirsteine (LV)" userId="5f25501a-2215-4bb3-9d9c-8d1484ffa7c1" providerId="ADAL" clId="{5C659B16-48DB-453B-907A-8EA353AF644C}" dt="2024-06-26T11:36:07.430" v="472" actId="20577"/>
          <ac:spMkLst>
            <pc:docMk/>
            <pc:sldMk cId="2214180997" sldId="2147481982"/>
            <ac:spMk id="20" creationId="{A4EAD244-3E35-CF16-9610-C9DD5B3A3D07}"/>
          </ac:spMkLst>
        </pc:spChg>
        <pc:spChg chg="del">
          <ac:chgData name="Sindija Kirsteine (LV)" userId="5f25501a-2215-4bb3-9d9c-8d1484ffa7c1" providerId="ADAL" clId="{5C659B16-48DB-453B-907A-8EA353AF644C}" dt="2024-06-26T11:34:48.947" v="447" actId="478"/>
          <ac:spMkLst>
            <pc:docMk/>
            <pc:sldMk cId="2214180997" sldId="2147481982"/>
            <ac:spMk id="21" creationId="{B3BACB13-7F5F-7706-5C2F-1B17B9E4C0A1}"/>
          </ac:spMkLst>
        </pc:spChg>
        <pc:spChg chg="del">
          <ac:chgData name="Sindija Kirsteine (LV)" userId="5f25501a-2215-4bb3-9d9c-8d1484ffa7c1" providerId="ADAL" clId="{5C659B16-48DB-453B-907A-8EA353AF644C}" dt="2024-06-26T11:34:48.947" v="447" actId="478"/>
          <ac:spMkLst>
            <pc:docMk/>
            <pc:sldMk cId="2214180997" sldId="2147481982"/>
            <ac:spMk id="22" creationId="{23636E8D-78E7-BF51-1737-96A4E2EF4240}"/>
          </ac:spMkLst>
        </pc:spChg>
        <pc:spChg chg="mod">
          <ac:chgData name="Sindija Kirsteine (LV)" userId="5f25501a-2215-4bb3-9d9c-8d1484ffa7c1" providerId="ADAL" clId="{5C659B16-48DB-453B-907A-8EA353AF644C}" dt="2024-06-26T11:32:47.429" v="239" actId="14100"/>
          <ac:spMkLst>
            <pc:docMk/>
            <pc:sldMk cId="2214180997" sldId="2147481982"/>
            <ac:spMk id="40" creationId="{0397F1B3-1DAC-781B-5BE5-08FA024DC19C}"/>
          </ac:spMkLst>
        </pc:spChg>
        <pc:spChg chg="mod">
          <ac:chgData name="Sindija Kirsteine (LV)" userId="5f25501a-2215-4bb3-9d9c-8d1484ffa7c1" providerId="ADAL" clId="{5C659B16-48DB-453B-907A-8EA353AF644C}" dt="2024-06-26T11:32:51.663" v="240" actId="14100"/>
          <ac:spMkLst>
            <pc:docMk/>
            <pc:sldMk cId="2214180997" sldId="2147481982"/>
            <ac:spMk id="41" creationId="{66A14158-E11A-E312-8696-ADD9D0E04629}"/>
          </ac:spMkLst>
        </pc:spChg>
        <pc:spChg chg="mod">
          <ac:chgData name="Sindija Kirsteine (LV)" userId="5f25501a-2215-4bb3-9d9c-8d1484ffa7c1" providerId="ADAL" clId="{5C659B16-48DB-453B-907A-8EA353AF644C}" dt="2024-06-26T11:33:02.667" v="241" actId="14100"/>
          <ac:spMkLst>
            <pc:docMk/>
            <pc:sldMk cId="2214180997" sldId="2147481982"/>
            <ac:spMk id="42" creationId="{986F6EBD-76CF-AA8A-DC11-0900DE8A8EB0}"/>
          </ac:spMkLst>
        </pc:spChg>
        <pc:spChg chg="add del mod">
          <ac:chgData name="Sindija Kirsteine (LV)" userId="5f25501a-2215-4bb3-9d9c-8d1484ffa7c1" providerId="ADAL" clId="{5C659B16-48DB-453B-907A-8EA353AF644C}" dt="2024-06-26T11:35:37.571" v="468" actId="478"/>
          <ac:spMkLst>
            <pc:docMk/>
            <pc:sldMk cId="2214180997" sldId="2147481982"/>
            <ac:spMk id="50" creationId="{1E384B44-88CC-8F76-E9AF-DBDBDD24EECE}"/>
          </ac:spMkLst>
        </pc:spChg>
        <pc:spChg chg="mod">
          <ac:chgData name="Sindija Kirsteine (LV)" userId="5f25501a-2215-4bb3-9d9c-8d1484ffa7c1" providerId="ADAL" clId="{5C659B16-48DB-453B-907A-8EA353AF644C}" dt="2024-06-26T11:32:42.805" v="238" actId="14100"/>
          <ac:spMkLst>
            <pc:docMk/>
            <pc:sldMk cId="2214180997" sldId="2147481982"/>
            <ac:spMk id="52" creationId="{54140961-D367-FFB1-E0FC-3F385487D472}"/>
          </ac:spMkLst>
        </pc:spChg>
        <pc:spChg chg="add del">
          <ac:chgData name="Sindija Kirsteine (LV)" userId="5f25501a-2215-4bb3-9d9c-8d1484ffa7c1" providerId="ADAL" clId="{5C659B16-48DB-453B-907A-8EA353AF644C}" dt="2024-06-26T11:35:37.571" v="468" actId="478"/>
          <ac:spMkLst>
            <pc:docMk/>
            <pc:sldMk cId="2214180997" sldId="2147481982"/>
            <ac:spMk id="61" creationId="{36EC9590-1EE1-4A70-E132-4F25FB2A166A}"/>
          </ac:spMkLst>
        </pc:spChg>
        <pc:spChg chg="add del">
          <ac:chgData name="Sindija Kirsteine (LV)" userId="5f25501a-2215-4bb3-9d9c-8d1484ffa7c1" providerId="ADAL" clId="{5C659B16-48DB-453B-907A-8EA353AF644C}" dt="2024-06-26T11:35:37.571" v="468" actId="478"/>
          <ac:spMkLst>
            <pc:docMk/>
            <pc:sldMk cId="2214180997" sldId="2147481982"/>
            <ac:spMk id="62" creationId="{2807FCC7-6EAD-0C0D-B605-03EEAC731F8C}"/>
          </ac:spMkLst>
        </pc:spChg>
        <pc:spChg chg="del">
          <ac:chgData name="Sindija Kirsteine (LV)" userId="5f25501a-2215-4bb3-9d9c-8d1484ffa7c1" providerId="ADAL" clId="{5C659B16-48DB-453B-907A-8EA353AF644C}" dt="2024-06-26T11:32:36.474" v="237" actId="478"/>
          <ac:spMkLst>
            <pc:docMk/>
            <pc:sldMk cId="2214180997" sldId="2147481982"/>
            <ac:spMk id="64" creationId="{C8839363-023E-6108-2610-F9869562BA65}"/>
          </ac:spMkLst>
        </pc:spChg>
        <pc:spChg chg="del">
          <ac:chgData name="Sindija Kirsteine (LV)" userId="5f25501a-2215-4bb3-9d9c-8d1484ffa7c1" providerId="ADAL" clId="{5C659B16-48DB-453B-907A-8EA353AF644C}" dt="2024-06-26T11:32:36.474" v="237" actId="478"/>
          <ac:spMkLst>
            <pc:docMk/>
            <pc:sldMk cId="2214180997" sldId="2147481982"/>
            <ac:spMk id="65" creationId="{6C9963BA-CB30-1A9A-495C-AC7D92B42F6A}"/>
          </ac:spMkLst>
        </pc:spChg>
        <pc:spChg chg="del">
          <ac:chgData name="Sindija Kirsteine (LV)" userId="5f25501a-2215-4bb3-9d9c-8d1484ffa7c1" providerId="ADAL" clId="{5C659B16-48DB-453B-907A-8EA353AF644C}" dt="2024-06-26T11:32:36.474" v="237" actId="478"/>
          <ac:spMkLst>
            <pc:docMk/>
            <pc:sldMk cId="2214180997" sldId="2147481982"/>
            <ac:spMk id="66" creationId="{F013B6EF-6664-55FA-8A95-9B25B931D676}"/>
          </ac:spMkLst>
        </pc:spChg>
        <pc:spChg chg="mod">
          <ac:chgData name="Sindija Kirsteine (LV)" userId="5f25501a-2215-4bb3-9d9c-8d1484ffa7c1" providerId="ADAL" clId="{5C659B16-48DB-453B-907A-8EA353AF644C}" dt="2024-06-26T12:07:37.869" v="1044" actId="20577"/>
          <ac:spMkLst>
            <pc:docMk/>
            <pc:sldMk cId="2214180997" sldId="2147481982"/>
            <ac:spMk id="68" creationId="{DC58C25F-8110-0C29-4A50-5DADA78B621C}"/>
          </ac:spMkLst>
        </pc:spChg>
        <pc:spChg chg="del">
          <ac:chgData name="Sindija Kirsteine (LV)" userId="5f25501a-2215-4bb3-9d9c-8d1484ffa7c1" providerId="ADAL" clId="{5C659B16-48DB-453B-907A-8EA353AF644C}" dt="2024-06-26T11:32:36.474" v="237" actId="478"/>
          <ac:spMkLst>
            <pc:docMk/>
            <pc:sldMk cId="2214180997" sldId="2147481982"/>
            <ac:spMk id="91" creationId="{923ED525-0203-6BC5-F3E8-8ABB7C0A1DD9}"/>
          </ac:spMkLst>
        </pc:spChg>
        <pc:spChg chg="del">
          <ac:chgData name="Sindija Kirsteine (LV)" userId="5f25501a-2215-4bb3-9d9c-8d1484ffa7c1" providerId="ADAL" clId="{5C659B16-48DB-453B-907A-8EA353AF644C}" dt="2024-06-26T11:32:36.474" v="237" actId="478"/>
          <ac:spMkLst>
            <pc:docMk/>
            <pc:sldMk cId="2214180997" sldId="2147481982"/>
            <ac:spMk id="92" creationId="{97672140-6C3A-9556-1AB0-06A807124770}"/>
          </ac:spMkLst>
        </pc:spChg>
        <pc:spChg chg="del">
          <ac:chgData name="Sindija Kirsteine (LV)" userId="5f25501a-2215-4bb3-9d9c-8d1484ffa7c1" providerId="ADAL" clId="{5C659B16-48DB-453B-907A-8EA353AF644C}" dt="2024-06-26T11:32:36.474" v="237" actId="478"/>
          <ac:spMkLst>
            <pc:docMk/>
            <pc:sldMk cId="2214180997" sldId="2147481982"/>
            <ac:spMk id="93" creationId="{D0E0A4D4-73EA-CBEB-4379-F0B1FF036634}"/>
          </ac:spMkLst>
        </pc:spChg>
        <pc:spChg chg="del">
          <ac:chgData name="Sindija Kirsteine (LV)" userId="5f25501a-2215-4bb3-9d9c-8d1484ffa7c1" providerId="ADAL" clId="{5C659B16-48DB-453B-907A-8EA353AF644C}" dt="2024-06-26T11:32:36.474" v="237" actId="478"/>
          <ac:spMkLst>
            <pc:docMk/>
            <pc:sldMk cId="2214180997" sldId="2147481982"/>
            <ac:spMk id="94" creationId="{1B45DCE4-892C-EC8B-4496-9FC8EDE7A80C}"/>
          </ac:spMkLst>
        </pc:spChg>
        <pc:spChg chg="del">
          <ac:chgData name="Sindija Kirsteine (LV)" userId="5f25501a-2215-4bb3-9d9c-8d1484ffa7c1" providerId="ADAL" clId="{5C659B16-48DB-453B-907A-8EA353AF644C}" dt="2024-06-26T11:32:36.474" v="237" actId="478"/>
          <ac:spMkLst>
            <pc:docMk/>
            <pc:sldMk cId="2214180997" sldId="2147481982"/>
            <ac:spMk id="95" creationId="{443FAA3C-0F7C-AD6B-CBF1-68825DEE28EF}"/>
          </ac:spMkLst>
        </pc:spChg>
        <pc:spChg chg="del">
          <ac:chgData name="Sindija Kirsteine (LV)" userId="5f25501a-2215-4bb3-9d9c-8d1484ffa7c1" providerId="ADAL" clId="{5C659B16-48DB-453B-907A-8EA353AF644C}" dt="2024-06-26T11:32:36.474" v="237" actId="478"/>
          <ac:spMkLst>
            <pc:docMk/>
            <pc:sldMk cId="2214180997" sldId="2147481982"/>
            <ac:spMk id="96" creationId="{F8E7CD43-EB84-01FE-1CF1-D4FC0D81A442}"/>
          </ac:spMkLst>
        </pc:spChg>
        <pc:grpChg chg="add del">
          <ac:chgData name="Sindija Kirsteine (LV)" userId="5f25501a-2215-4bb3-9d9c-8d1484ffa7c1" providerId="ADAL" clId="{5C659B16-48DB-453B-907A-8EA353AF644C}" dt="2024-06-26T11:35:37.571" v="468" actId="478"/>
          <ac:grpSpMkLst>
            <pc:docMk/>
            <pc:sldMk cId="2214180997" sldId="2147481982"/>
            <ac:grpSpMk id="23" creationId="{C55D8B85-A904-322C-FBFB-D30D8C2CA33E}"/>
          </ac:grpSpMkLst>
        </pc:grpChg>
        <pc:picChg chg="mod">
          <ac:chgData name="Sindija Kirsteine (LV)" userId="5f25501a-2215-4bb3-9d9c-8d1484ffa7c1" providerId="ADAL" clId="{5C659B16-48DB-453B-907A-8EA353AF644C}" dt="2024-06-26T11:20:27.022" v="138" actId="1076"/>
          <ac:picMkLst>
            <pc:docMk/>
            <pc:sldMk cId="2214180997" sldId="2147481982"/>
            <ac:picMk id="10" creationId="{A4A04257-2D57-8581-8FD0-4EC35D248D02}"/>
          </ac:picMkLst>
        </pc:picChg>
        <pc:cxnChg chg="mod">
          <ac:chgData name="Sindija Kirsteine (LV)" userId="5f25501a-2215-4bb3-9d9c-8d1484ffa7c1" providerId="ADAL" clId="{5C659B16-48DB-453B-907A-8EA353AF644C}" dt="2024-06-26T11:35:01.391" v="449" actId="14100"/>
          <ac:cxnSpMkLst>
            <pc:docMk/>
            <pc:sldMk cId="2214180997" sldId="2147481982"/>
            <ac:cxnSpMk id="6" creationId="{AA7A7FA2-43EB-E10E-9DB9-8125FF1E58FC}"/>
          </ac:cxnSpMkLst>
        </pc:cxnChg>
        <pc:cxnChg chg="del">
          <ac:chgData name="Sindija Kirsteine (LV)" userId="5f25501a-2215-4bb3-9d9c-8d1484ffa7c1" providerId="ADAL" clId="{5C659B16-48DB-453B-907A-8EA353AF644C}" dt="2024-06-26T11:32:36.474" v="237" actId="478"/>
          <ac:cxnSpMkLst>
            <pc:docMk/>
            <pc:sldMk cId="2214180997" sldId="2147481982"/>
            <ac:cxnSpMk id="12" creationId="{115247EA-EE3B-31EE-8D48-4898D35A3280}"/>
          </ac:cxnSpMkLst>
        </pc:cxnChg>
        <pc:cxnChg chg="del">
          <ac:chgData name="Sindija Kirsteine (LV)" userId="5f25501a-2215-4bb3-9d9c-8d1484ffa7c1" providerId="ADAL" clId="{5C659B16-48DB-453B-907A-8EA353AF644C}" dt="2024-06-26T11:32:36.474" v="237" actId="478"/>
          <ac:cxnSpMkLst>
            <pc:docMk/>
            <pc:sldMk cId="2214180997" sldId="2147481982"/>
            <ac:cxnSpMk id="13" creationId="{DBBAF735-721D-F52F-3F37-FEC03949D8CB}"/>
          </ac:cxnSpMkLst>
        </pc:cxnChg>
        <pc:cxnChg chg="mod">
          <ac:chgData name="Sindija Kirsteine (LV)" userId="5f25501a-2215-4bb3-9d9c-8d1484ffa7c1" providerId="ADAL" clId="{5C659B16-48DB-453B-907A-8EA353AF644C}" dt="2024-06-26T11:35:06.984" v="450" actId="14100"/>
          <ac:cxnSpMkLst>
            <pc:docMk/>
            <pc:sldMk cId="2214180997" sldId="2147481982"/>
            <ac:cxnSpMk id="15" creationId="{60508230-2256-BEAC-3F1B-1FBD12640BF7}"/>
          </ac:cxnSpMkLst>
        </pc:cxnChg>
        <pc:cxnChg chg="mod">
          <ac:chgData name="Sindija Kirsteine (LV)" userId="5f25501a-2215-4bb3-9d9c-8d1484ffa7c1" providerId="ADAL" clId="{5C659B16-48DB-453B-907A-8EA353AF644C}" dt="2024-06-26T11:35:19.625" v="452" actId="14100"/>
          <ac:cxnSpMkLst>
            <pc:docMk/>
            <pc:sldMk cId="2214180997" sldId="2147481982"/>
            <ac:cxnSpMk id="16" creationId="{1E7CC1BC-C16B-82D6-0EA2-3A181E8600F1}"/>
          </ac:cxnSpMkLst>
        </pc:cxnChg>
        <pc:cxnChg chg="del">
          <ac:chgData name="Sindija Kirsteine (LV)" userId="5f25501a-2215-4bb3-9d9c-8d1484ffa7c1" providerId="ADAL" clId="{5C659B16-48DB-453B-907A-8EA353AF644C}" dt="2024-06-26T11:32:36.474" v="237" actId="478"/>
          <ac:cxnSpMkLst>
            <pc:docMk/>
            <pc:sldMk cId="2214180997" sldId="2147481982"/>
            <ac:cxnSpMk id="55" creationId="{41BD9CB5-1387-FE6E-96DE-C1E83115FF49}"/>
          </ac:cxnSpMkLst>
        </pc:cxnChg>
        <pc:cxnChg chg="mod">
          <ac:chgData name="Sindija Kirsteine (LV)" userId="5f25501a-2215-4bb3-9d9c-8d1484ffa7c1" providerId="ADAL" clId="{5C659B16-48DB-453B-907A-8EA353AF644C}" dt="2024-06-26T11:34:55.944" v="448" actId="14100"/>
          <ac:cxnSpMkLst>
            <pc:docMk/>
            <pc:sldMk cId="2214180997" sldId="2147481982"/>
            <ac:cxnSpMk id="59" creationId="{7E500747-C848-E521-FDAE-12CD91281C7E}"/>
          </ac:cxnSpMkLst>
        </pc:cxnChg>
        <pc:cxnChg chg="del">
          <ac:chgData name="Sindija Kirsteine (LV)" userId="5f25501a-2215-4bb3-9d9c-8d1484ffa7c1" providerId="ADAL" clId="{5C659B16-48DB-453B-907A-8EA353AF644C}" dt="2024-06-26T11:32:36.474" v="237" actId="478"/>
          <ac:cxnSpMkLst>
            <pc:docMk/>
            <pc:sldMk cId="2214180997" sldId="2147481982"/>
            <ac:cxnSpMk id="60" creationId="{88D7CFA4-9630-9E6E-9558-B995D1763B49}"/>
          </ac:cxnSpMkLst>
        </pc:cxn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5C659B16-48DB-453B-907A-8EA353AF644C}" dt="2024-06-26T12:07:37.869" v="1044" actId="20577"/>
              <pc2:cmMkLst xmlns:pc2="http://schemas.microsoft.com/office/powerpoint/2019/9/main/command">
                <pc:docMk/>
                <pc:sldMk cId="2214180997" sldId="2147481982"/>
                <pc2:cmMk id="{C4AC9989-EF57-4649-B8EA-CA1106933571}"/>
              </pc2:cmMkLst>
            </pc226:cmChg>
          </p:ext>
        </pc:extLst>
      </pc:sldChg>
      <pc:sldChg chg="addSp delSp modSp mod">
        <pc:chgData name="Sindija Kirsteine (LV)" userId="5f25501a-2215-4bb3-9d9c-8d1484ffa7c1" providerId="ADAL" clId="{5C659B16-48DB-453B-907A-8EA353AF644C}" dt="2024-06-26T12:18:17.017" v="1201" actId="478"/>
        <pc:sldMkLst>
          <pc:docMk/>
          <pc:sldMk cId="28118731" sldId="2147481984"/>
        </pc:sldMkLst>
        <pc:spChg chg="mod">
          <ac:chgData name="Sindija Kirsteine (LV)" userId="5f25501a-2215-4bb3-9d9c-8d1484ffa7c1" providerId="ADAL" clId="{5C659B16-48DB-453B-907A-8EA353AF644C}" dt="2024-06-26T12:16:33.647" v="1174" actId="14100"/>
          <ac:spMkLst>
            <pc:docMk/>
            <pc:sldMk cId="28118731" sldId="2147481984"/>
            <ac:spMk id="40" creationId="{0397F1B3-1DAC-781B-5BE5-08FA024DC19C}"/>
          </ac:spMkLst>
        </pc:spChg>
        <pc:spChg chg="del">
          <ac:chgData name="Sindija Kirsteine (LV)" userId="5f25501a-2215-4bb3-9d9c-8d1484ffa7c1" providerId="ADAL" clId="{5C659B16-48DB-453B-907A-8EA353AF644C}" dt="2024-06-26T12:16:19.033" v="1171" actId="478"/>
          <ac:spMkLst>
            <pc:docMk/>
            <pc:sldMk cId="28118731" sldId="2147481984"/>
            <ac:spMk id="65" creationId="{6C9963BA-CB30-1A9A-495C-AC7D92B42F6A}"/>
          </ac:spMkLst>
        </pc:spChg>
        <pc:spChg chg="del">
          <ac:chgData name="Sindija Kirsteine (LV)" userId="5f25501a-2215-4bb3-9d9c-8d1484ffa7c1" providerId="ADAL" clId="{5C659B16-48DB-453B-907A-8EA353AF644C}" dt="2024-06-26T12:16:29.289" v="1173" actId="478"/>
          <ac:spMkLst>
            <pc:docMk/>
            <pc:sldMk cId="28118731" sldId="2147481984"/>
            <ac:spMk id="93" creationId="{D0E0A4D4-73EA-CBEB-4379-F0B1FF036634}"/>
          </ac:spMkLst>
        </pc:spChg>
        <pc:spChg chg="del">
          <ac:chgData name="Sindija Kirsteine (LV)" userId="5f25501a-2215-4bb3-9d9c-8d1484ffa7c1" providerId="ADAL" clId="{5C659B16-48DB-453B-907A-8EA353AF644C}" dt="2024-06-26T12:16:26.488" v="1172" actId="478"/>
          <ac:spMkLst>
            <pc:docMk/>
            <pc:sldMk cId="28118731" sldId="2147481984"/>
            <ac:spMk id="94" creationId="{1B45DCE4-892C-EC8B-4496-9FC8EDE7A80C}"/>
          </ac:spMkLst>
        </pc:spChg>
        <pc:cxnChg chg="mod">
          <ac:chgData name="Sindija Kirsteine (LV)" userId="5f25501a-2215-4bb3-9d9c-8d1484ffa7c1" providerId="ADAL" clId="{5C659B16-48DB-453B-907A-8EA353AF644C}" dt="2024-06-26T12:17:55.380" v="1200" actId="14100"/>
          <ac:cxnSpMkLst>
            <pc:docMk/>
            <pc:sldMk cId="28118731" sldId="2147481984"/>
            <ac:cxnSpMk id="6" creationId="{AA7A7FA2-43EB-E10E-9DB9-8125FF1E58FC}"/>
          </ac:cxnSpMkLst>
        </pc:cxnChg>
        <pc:cxnChg chg="add del mod">
          <ac:chgData name="Sindija Kirsteine (LV)" userId="5f25501a-2215-4bb3-9d9c-8d1484ffa7c1" providerId="ADAL" clId="{5C659B16-48DB-453B-907A-8EA353AF644C}" dt="2024-06-26T12:18:17.017" v="1201" actId="478"/>
          <ac:cxnSpMkLst>
            <pc:docMk/>
            <pc:sldMk cId="28118731" sldId="2147481984"/>
            <ac:cxnSpMk id="11" creationId="{433CD4C0-7BDC-1CF2-D8FC-A2E952EE040B}"/>
          </ac:cxnSpMkLst>
        </pc:cxnChg>
        <pc:cxnChg chg="del">
          <ac:chgData name="Sindija Kirsteine (LV)" userId="5f25501a-2215-4bb3-9d9c-8d1484ffa7c1" providerId="ADAL" clId="{5C659B16-48DB-453B-907A-8EA353AF644C}" dt="2024-06-26T12:16:46.082" v="1175" actId="478"/>
          <ac:cxnSpMkLst>
            <pc:docMk/>
            <pc:sldMk cId="28118731" sldId="2147481984"/>
            <ac:cxnSpMk id="55" creationId="{41BD9CB5-1387-FE6E-96DE-C1E83115FF49}"/>
          </ac:cxnSpMkLst>
        </pc:cxnChg>
        <pc:cxnChg chg="mod">
          <ac:chgData name="Sindija Kirsteine (LV)" userId="5f25501a-2215-4bb3-9d9c-8d1484ffa7c1" providerId="ADAL" clId="{5C659B16-48DB-453B-907A-8EA353AF644C}" dt="2024-06-26T12:17:29.259" v="1198" actId="14100"/>
          <ac:cxnSpMkLst>
            <pc:docMk/>
            <pc:sldMk cId="28118731" sldId="2147481984"/>
            <ac:cxnSpMk id="59" creationId="{7E500747-C848-E521-FDAE-12CD91281C7E}"/>
          </ac:cxnSpMkLst>
        </pc:cxnChg>
        <pc:cxnChg chg="del">
          <ac:chgData name="Sindija Kirsteine (LV)" userId="5f25501a-2215-4bb3-9d9c-8d1484ffa7c1" providerId="ADAL" clId="{5C659B16-48DB-453B-907A-8EA353AF644C}" dt="2024-06-26T12:17:47.710" v="1199" actId="478"/>
          <ac:cxnSpMkLst>
            <pc:docMk/>
            <pc:sldMk cId="28118731" sldId="2147481984"/>
            <ac:cxnSpMk id="60" creationId="{88D7CFA4-9630-9E6E-9558-B995D1763B49}"/>
          </ac:cxnSpMkLst>
        </pc:cxnChg>
      </pc:sldChg>
      <pc:sldChg chg="delSp mod">
        <pc:chgData name="Sindija Kirsteine (LV)" userId="5f25501a-2215-4bb3-9d9c-8d1484ffa7c1" providerId="ADAL" clId="{5C659B16-48DB-453B-907A-8EA353AF644C}" dt="2024-06-26T12:22:12.952" v="1261" actId="478"/>
        <pc:sldMkLst>
          <pc:docMk/>
          <pc:sldMk cId="802236342" sldId="2147481991"/>
        </pc:sldMkLst>
        <pc:spChg chg="del">
          <ac:chgData name="Sindija Kirsteine (LV)" userId="5f25501a-2215-4bb3-9d9c-8d1484ffa7c1" providerId="ADAL" clId="{5C659B16-48DB-453B-907A-8EA353AF644C}" dt="2024-06-26T12:22:12.952" v="1261" actId="478"/>
          <ac:spMkLst>
            <pc:docMk/>
            <pc:sldMk cId="802236342" sldId="2147481991"/>
            <ac:spMk id="19" creationId="{331005CD-BD66-548F-8C12-DD2238A4B3D6}"/>
          </ac:spMkLst>
        </pc:spChg>
        <pc:spChg chg="del">
          <ac:chgData name="Sindija Kirsteine (LV)" userId="5f25501a-2215-4bb3-9d9c-8d1484ffa7c1" providerId="ADAL" clId="{5C659B16-48DB-453B-907A-8EA353AF644C}" dt="2024-06-26T12:22:09.967" v="1260" actId="478"/>
          <ac:spMkLst>
            <pc:docMk/>
            <pc:sldMk cId="802236342" sldId="2147481991"/>
            <ac:spMk id="95" creationId="{22D4B225-D47B-7BF9-C1B5-24859137C3E4}"/>
          </ac:spMkLst>
        </pc:spChg>
      </pc:sldChg>
      <pc:sldChg chg="delSp mod">
        <pc:chgData name="Sindija Kirsteine (LV)" userId="5f25501a-2215-4bb3-9d9c-8d1484ffa7c1" providerId="ADAL" clId="{5C659B16-48DB-453B-907A-8EA353AF644C}" dt="2024-06-26T12:26:52.610" v="1353" actId="478"/>
        <pc:sldMkLst>
          <pc:docMk/>
          <pc:sldMk cId="1613844391" sldId="2147481992"/>
        </pc:sldMkLst>
        <pc:spChg chg="del">
          <ac:chgData name="Sindija Kirsteine (LV)" userId="5f25501a-2215-4bb3-9d9c-8d1484ffa7c1" providerId="ADAL" clId="{5C659B16-48DB-453B-907A-8EA353AF644C}" dt="2024-06-26T11:50:20.896" v="817" actId="478"/>
          <ac:spMkLst>
            <pc:docMk/>
            <pc:sldMk cId="1613844391" sldId="2147481992"/>
            <ac:spMk id="50" creationId="{2BDE8E25-08A2-0F4A-11D7-F0C39579356F}"/>
          </ac:spMkLst>
        </pc:spChg>
        <pc:spChg chg="del">
          <ac:chgData name="Sindija Kirsteine (LV)" userId="5f25501a-2215-4bb3-9d9c-8d1484ffa7c1" providerId="ADAL" clId="{5C659B16-48DB-453B-907A-8EA353AF644C}" dt="2024-06-26T12:26:52.610" v="1353" actId="478"/>
          <ac:spMkLst>
            <pc:docMk/>
            <pc:sldMk cId="1613844391" sldId="2147481992"/>
            <ac:spMk id="62" creationId="{AC4CBC7F-BE8C-AD23-49B4-F897E24C8B0B}"/>
          </ac:spMkLst>
        </pc:spChg>
      </pc:sldChg>
      <pc:sldChg chg="addSp delSp modSp mod modCm">
        <pc:chgData name="Sindija Kirsteine (LV)" userId="5f25501a-2215-4bb3-9d9c-8d1484ffa7c1" providerId="ADAL" clId="{5C659B16-48DB-453B-907A-8EA353AF644C}" dt="2024-06-26T12:00:23.497" v="944" actId="20577"/>
        <pc:sldMkLst>
          <pc:docMk/>
          <pc:sldMk cId="1791248831" sldId="2147482012"/>
        </pc:sldMkLst>
        <pc:spChg chg="mod">
          <ac:chgData name="Sindija Kirsteine (LV)" userId="5f25501a-2215-4bb3-9d9c-8d1484ffa7c1" providerId="ADAL" clId="{5C659B16-48DB-453B-907A-8EA353AF644C}" dt="2024-06-26T12:00:23.497" v="944" actId="20577"/>
          <ac:spMkLst>
            <pc:docMk/>
            <pc:sldMk cId="1791248831" sldId="2147482012"/>
            <ac:spMk id="2" creationId="{EC47296D-9568-ED7D-0457-80174E2BF2F8}"/>
          </ac:spMkLst>
        </pc:spChg>
        <pc:spChg chg="del">
          <ac:chgData name="Sindija Kirsteine (LV)" userId="5f25501a-2215-4bb3-9d9c-8d1484ffa7c1" providerId="ADAL" clId="{5C659B16-48DB-453B-907A-8EA353AF644C}" dt="2024-06-26T11:42:08.102" v="537" actId="478"/>
          <ac:spMkLst>
            <pc:docMk/>
            <pc:sldMk cId="1791248831" sldId="2147482012"/>
            <ac:spMk id="3" creationId="{F069EE7B-6A38-C785-FC7A-278D3C49107A}"/>
          </ac:spMkLst>
        </pc:spChg>
        <pc:spChg chg="add del mod">
          <ac:chgData name="Sindija Kirsteine (LV)" userId="5f25501a-2215-4bb3-9d9c-8d1484ffa7c1" providerId="ADAL" clId="{5C659B16-48DB-453B-907A-8EA353AF644C}" dt="2024-06-26T11:40:37.290" v="500" actId="478"/>
          <ac:spMkLst>
            <pc:docMk/>
            <pc:sldMk cId="1791248831" sldId="2147482012"/>
            <ac:spMk id="4" creationId="{EE33BC2E-445D-353D-DEF3-07AF4ABBDF8F}"/>
          </ac:spMkLst>
        </pc:spChg>
        <pc:spChg chg="del">
          <ac:chgData name="Sindija Kirsteine (LV)" userId="5f25501a-2215-4bb3-9d9c-8d1484ffa7c1" providerId="ADAL" clId="{5C659B16-48DB-453B-907A-8EA353AF644C}" dt="2024-06-26T11:39:55.050" v="488" actId="478"/>
          <ac:spMkLst>
            <pc:docMk/>
            <pc:sldMk cId="1791248831" sldId="2147482012"/>
            <ac:spMk id="24" creationId="{09C2CCCC-B4A3-9533-7C1A-4E7B99F19AB0}"/>
          </ac:spMkLst>
        </pc:spChg>
        <pc:spChg chg="del">
          <ac:chgData name="Sindija Kirsteine (LV)" userId="5f25501a-2215-4bb3-9d9c-8d1484ffa7c1" providerId="ADAL" clId="{5C659B16-48DB-453B-907A-8EA353AF644C}" dt="2024-06-26T11:39:55.050" v="488" actId="478"/>
          <ac:spMkLst>
            <pc:docMk/>
            <pc:sldMk cId="1791248831" sldId="2147482012"/>
            <ac:spMk id="26" creationId="{F0CB5772-83FD-A70A-A885-67FCEEE49754}"/>
          </ac:spMkLst>
        </pc:spChg>
        <pc:spChg chg="del">
          <ac:chgData name="Sindija Kirsteine (LV)" userId="5f25501a-2215-4bb3-9d9c-8d1484ffa7c1" providerId="ADAL" clId="{5C659B16-48DB-453B-907A-8EA353AF644C}" dt="2024-06-26T11:39:55.050" v="488" actId="478"/>
          <ac:spMkLst>
            <pc:docMk/>
            <pc:sldMk cId="1791248831" sldId="2147482012"/>
            <ac:spMk id="28" creationId="{1F89E490-78F7-A46F-F02C-AF67D0B5CD2A}"/>
          </ac:spMkLst>
        </pc:spChg>
        <pc:spChg chg="mod">
          <ac:chgData name="Sindija Kirsteine (LV)" userId="5f25501a-2215-4bb3-9d9c-8d1484ffa7c1" providerId="ADAL" clId="{5C659B16-48DB-453B-907A-8EA353AF644C}" dt="2024-06-26T11:48:18.433" v="797" actId="403"/>
          <ac:spMkLst>
            <pc:docMk/>
            <pc:sldMk cId="1791248831" sldId="2147482012"/>
            <ac:spMk id="33" creationId="{A9EA678B-1C92-D1EC-5EF2-97D0A4907E68}"/>
          </ac:spMkLst>
        </pc:spChg>
        <pc:spChg chg="del">
          <ac:chgData name="Sindija Kirsteine (LV)" userId="5f25501a-2215-4bb3-9d9c-8d1484ffa7c1" providerId="ADAL" clId="{5C659B16-48DB-453B-907A-8EA353AF644C}" dt="2024-06-26T11:39:55.050" v="488" actId="478"/>
          <ac:spMkLst>
            <pc:docMk/>
            <pc:sldMk cId="1791248831" sldId="2147482012"/>
            <ac:spMk id="35" creationId="{195A68F4-D954-A1C0-A647-42A436D9BC2B}"/>
          </ac:spMkLst>
        </pc:spChg>
        <pc:spChg chg="del">
          <ac:chgData name="Sindija Kirsteine (LV)" userId="5f25501a-2215-4bb3-9d9c-8d1484ffa7c1" providerId="ADAL" clId="{5C659B16-48DB-453B-907A-8EA353AF644C}" dt="2024-06-26T11:39:55.050" v="488" actId="478"/>
          <ac:spMkLst>
            <pc:docMk/>
            <pc:sldMk cId="1791248831" sldId="2147482012"/>
            <ac:spMk id="36" creationId="{3C145E88-345E-DEB9-9ABA-4CC30EEE55EB}"/>
          </ac:spMkLst>
        </pc:spChg>
        <pc:spChg chg="del">
          <ac:chgData name="Sindija Kirsteine (LV)" userId="5f25501a-2215-4bb3-9d9c-8d1484ffa7c1" providerId="ADAL" clId="{5C659B16-48DB-453B-907A-8EA353AF644C}" dt="2024-06-26T11:39:55.050" v="488" actId="478"/>
          <ac:spMkLst>
            <pc:docMk/>
            <pc:sldMk cId="1791248831" sldId="2147482012"/>
            <ac:spMk id="47" creationId="{DE28A1F8-05E1-2D2E-5F4B-FFE030D33C0D}"/>
          </ac:spMkLst>
        </pc:spChg>
        <pc:spChg chg="del">
          <ac:chgData name="Sindija Kirsteine (LV)" userId="5f25501a-2215-4bb3-9d9c-8d1484ffa7c1" providerId="ADAL" clId="{5C659B16-48DB-453B-907A-8EA353AF644C}" dt="2024-06-26T11:39:55.050" v="488" actId="478"/>
          <ac:spMkLst>
            <pc:docMk/>
            <pc:sldMk cId="1791248831" sldId="2147482012"/>
            <ac:spMk id="49" creationId="{6E207265-F4E8-6EAA-ED4A-AD1C8A0CAA77}"/>
          </ac:spMkLst>
        </pc:spChg>
        <pc:spChg chg="del">
          <ac:chgData name="Sindija Kirsteine (LV)" userId="5f25501a-2215-4bb3-9d9c-8d1484ffa7c1" providerId="ADAL" clId="{5C659B16-48DB-453B-907A-8EA353AF644C}" dt="2024-06-26T11:39:17.166" v="486" actId="478"/>
          <ac:spMkLst>
            <pc:docMk/>
            <pc:sldMk cId="1791248831" sldId="2147482012"/>
            <ac:spMk id="50" creationId="{1E384B44-88CC-8F76-E9AF-DBDBDD24EECE}"/>
          </ac:spMkLst>
        </pc:spChg>
        <pc:spChg chg="del">
          <ac:chgData name="Sindija Kirsteine (LV)" userId="5f25501a-2215-4bb3-9d9c-8d1484ffa7c1" providerId="ADAL" clId="{5C659B16-48DB-453B-907A-8EA353AF644C}" dt="2024-06-26T11:39:55.050" v="488" actId="478"/>
          <ac:spMkLst>
            <pc:docMk/>
            <pc:sldMk cId="1791248831" sldId="2147482012"/>
            <ac:spMk id="51" creationId="{459753F3-41F3-63B5-45E4-F3B58708C5B6}"/>
          </ac:spMkLst>
        </pc:spChg>
        <pc:spChg chg="del">
          <ac:chgData name="Sindija Kirsteine (LV)" userId="5f25501a-2215-4bb3-9d9c-8d1484ffa7c1" providerId="ADAL" clId="{5C659B16-48DB-453B-907A-8EA353AF644C}" dt="2024-06-26T11:39:55.050" v="488" actId="478"/>
          <ac:spMkLst>
            <pc:docMk/>
            <pc:sldMk cId="1791248831" sldId="2147482012"/>
            <ac:spMk id="53" creationId="{712D0EB1-E85C-E87E-4F8A-F91F9B547B85}"/>
          </ac:spMkLst>
        </pc:spChg>
        <pc:spChg chg="del">
          <ac:chgData name="Sindija Kirsteine (LV)" userId="5f25501a-2215-4bb3-9d9c-8d1484ffa7c1" providerId="ADAL" clId="{5C659B16-48DB-453B-907A-8EA353AF644C}" dt="2024-06-26T11:39:17.166" v="486" actId="478"/>
          <ac:spMkLst>
            <pc:docMk/>
            <pc:sldMk cId="1791248831" sldId="2147482012"/>
            <ac:spMk id="61" creationId="{36EC9590-1EE1-4A70-E132-4F25FB2A166A}"/>
          </ac:spMkLst>
        </pc:spChg>
        <pc:spChg chg="del">
          <ac:chgData name="Sindija Kirsteine (LV)" userId="5f25501a-2215-4bb3-9d9c-8d1484ffa7c1" providerId="ADAL" clId="{5C659B16-48DB-453B-907A-8EA353AF644C}" dt="2024-06-26T11:39:17.166" v="486" actId="478"/>
          <ac:spMkLst>
            <pc:docMk/>
            <pc:sldMk cId="1791248831" sldId="2147482012"/>
            <ac:spMk id="62" creationId="{2807FCC7-6EAD-0C0D-B605-03EEAC731F8C}"/>
          </ac:spMkLst>
        </pc:spChg>
        <pc:spChg chg="mod">
          <ac:chgData name="Sindija Kirsteine (LV)" userId="5f25501a-2215-4bb3-9d9c-8d1484ffa7c1" providerId="ADAL" clId="{5C659B16-48DB-453B-907A-8EA353AF644C}" dt="2024-06-26T11:42:00.331" v="533" actId="20577"/>
          <ac:spMkLst>
            <pc:docMk/>
            <pc:sldMk cId="1791248831" sldId="2147482012"/>
            <ac:spMk id="68" creationId="{DC58C25F-8110-0C29-4A50-5DADA78B621C}"/>
          </ac:spMkLst>
        </pc:spChg>
        <pc:spChg chg="mod">
          <ac:chgData name="Sindija Kirsteine (LV)" userId="5f25501a-2215-4bb3-9d9c-8d1484ffa7c1" providerId="ADAL" clId="{5C659B16-48DB-453B-907A-8EA353AF644C}" dt="2024-06-26T11:48:08.102" v="792" actId="403"/>
          <ac:spMkLst>
            <pc:docMk/>
            <pc:sldMk cId="1791248831" sldId="2147482012"/>
            <ac:spMk id="75" creationId="{AB24C0B9-0E0F-E3B2-1237-5CBEE719A1F1}"/>
          </ac:spMkLst>
        </pc:spChg>
        <pc:spChg chg="mod">
          <ac:chgData name="Sindija Kirsteine (LV)" userId="5f25501a-2215-4bb3-9d9c-8d1484ffa7c1" providerId="ADAL" clId="{5C659B16-48DB-453B-907A-8EA353AF644C}" dt="2024-06-26T11:48:10.132" v="793" actId="403"/>
          <ac:spMkLst>
            <pc:docMk/>
            <pc:sldMk cId="1791248831" sldId="2147482012"/>
            <ac:spMk id="76" creationId="{8793B610-11BB-3DD5-343E-D5A1842E54DF}"/>
          </ac:spMkLst>
        </pc:spChg>
        <pc:spChg chg="mod">
          <ac:chgData name="Sindija Kirsteine (LV)" userId="5f25501a-2215-4bb3-9d9c-8d1484ffa7c1" providerId="ADAL" clId="{5C659B16-48DB-453B-907A-8EA353AF644C}" dt="2024-06-26T11:48:12.366" v="794" actId="403"/>
          <ac:spMkLst>
            <pc:docMk/>
            <pc:sldMk cId="1791248831" sldId="2147482012"/>
            <ac:spMk id="77" creationId="{7507519A-1DE4-B47D-BFBC-5EC74A788B23}"/>
          </ac:spMkLst>
        </pc:spChg>
        <pc:spChg chg="mod">
          <ac:chgData name="Sindija Kirsteine (LV)" userId="5f25501a-2215-4bb3-9d9c-8d1484ffa7c1" providerId="ADAL" clId="{5C659B16-48DB-453B-907A-8EA353AF644C}" dt="2024-06-26T11:48:14.555" v="795" actId="403"/>
          <ac:spMkLst>
            <pc:docMk/>
            <pc:sldMk cId="1791248831" sldId="2147482012"/>
            <ac:spMk id="99" creationId="{805B5EBD-6AAC-3E2E-7379-47BAFD8ABB47}"/>
          </ac:spMkLst>
        </pc:spChg>
        <pc:spChg chg="mod">
          <ac:chgData name="Sindija Kirsteine (LV)" userId="5f25501a-2215-4bb3-9d9c-8d1484ffa7c1" providerId="ADAL" clId="{5C659B16-48DB-453B-907A-8EA353AF644C}" dt="2024-06-26T11:48:16.495" v="796" actId="403"/>
          <ac:spMkLst>
            <pc:docMk/>
            <pc:sldMk cId="1791248831" sldId="2147482012"/>
            <ac:spMk id="100" creationId="{8413921A-9F50-D135-DB2F-4735F1AD43FB}"/>
          </ac:spMkLst>
        </pc:spChg>
        <pc:grpChg chg="del">
          <ac:chgData name="Sindija Kirsteine (LV)" userId="5f25501a-2215-4bb3-9d9c-8d1484ffa7c1" providerId="ADAL" clId="{5C659B16-48DB-453B-907A-8EA353AF644C}" dt="2024-06-26T11:39:17.166" v="486" actId="478"/>
          <ac:grpSpMkLst>
            <pc:docMk/>
            <pc:sldMk cId="1791248831" sldId="2147482012"/>
            <ac:grpSpMk id="113" creationId="{BD0AAD21-B620-BE2C-26F6-12331A646B63}"/>
          </ac:grpSpMkLst>
        </pc:grpChg>
        <pc:grpChg chg="mod">
          <ac:chgData name="Sindija Kirsteine (LV)" userId="5f25501a-2215-4bb3-9d9c-8d1484ffa7c1" providerId="ADAL" clId="{5C659B16-48DB-453B-907A-8EA353AF644C}" dt="2024-06-26T11:40:07.331" v="489" actId="1076"/>
          <ac:grpSpMkLst>
            <pc:docMk/>
            <pc:sldMk cId="1791248831" sldId="2147482012"/>
            <ac:grpSpMk id="124" creationId="{22B6A670-1167-6234-3E64-FBCDAC877C22}"/>
          </ac:grpSpMkLst>
        </pc:grpChg>
        <pc:grpChg chg="mod">
          <ac:chgData name="Sindija Kirsteine (LV)" userId="5f25501a-2215-4bb3-9d9c-8d1484ffa7c1" providerId="ADAL" clId="{5C659B16-48DB-453B-907A-8EA353AF644C}" dt="2024-06-26T11:40:07.331" v="489" actId="1076"/>
          <ac:grpSpMkLst>
            <pc:docMk/>
            <pc:sldMk cId="1791248831" sldId="2147482012"/>
            <ac:grpSpMk id="125" creationId="{4387D8E0-B165-2634-3E99-8098AC5D0AAE}"/>
          </ac:grpSpMkLst>
        </pc:grpChg>
        <pc:grpChg chg="mod">
          <ac:chgData name="Sindija Kirsteine (LV)" userId="5f25501a-2215-4bb3-9d9c-8d1484ffa7c1" providerId="ADAL" clId="{5C659B16-48DB-453B-907A-8EA353AF644C}" dt="2024-06-26T11:40:07.331" v="489" actId="1076"/>
          <ac:grpSpMkLst>
            <pc:docMk/>
            <pc:sldMk cId="1791248831" sldId="2147482012"/>
            <ac:grpSpMk id="126" creationId="{25B24E43-5F6C-2205-6F27-C9A8304F80E4}"/>
          </ac:grpSpMkLst>
        </pc:grpChg>
        <pc:grpChg chg="mod">
          <ac:chgData name="Sindija Kirsteine (LV)" userId="5f25501a-2215-4bb3-9d9c-8d1484ffa7c1" providerId="ADAL" clId="{5C659B16-48DB-453B-907A-8EA353AF644C}" dt="2024-06-26T11:40:07.331" v="489" actId="1076"/>
          <ac:grpSpMkLst>
            <pc:docMk/>
            <pc:sldMk cId="1791248831" sldId="2147482012"/>
            <ac:grpSpMk id="127" creationId="{A9187C67-83D0-9053-644E-EA9705E689B3}"/>
          </ac:grpSpMkLst>
        </pc:grpChg>
        <pc:grpChg chg="mod">
          <ac:chgData name="Sindija Kirsteine (LV)" userId="5f25501a-2215-4bb3-9d9c-8d1484ffa7c1" providerId="ADAL" clId="{5C659B16-48DB-453B-907A-8EA353AF644C}" dt="2024-06-26T11:40:07.331" v="489" actId="1076"/>
          <ac:grpSpMkLst>
            <pc:docMk/>
            <pc:sldMk cId="1791248831" sldId="2147482012"/>
            <ac:grpSpMk id="128" creationId="{7EA9234F-4081-9D78-360F-4BB6F2EDDCBE}"/>
          </ac:grpSpMkLst>
        </pc:grpChg>
        <pc:grpChg chg="mod">
          <ac:chgData name="Sindija Kirsteine (LV)" userId="5f25501a-2215-4bb3-9d9c-8d1484ffa7c1" providerId="ADAL" clId="{5C659B16-48DB-453B-907A-8EA353AF644C}" dt="2024-06-26T11:40:07.331" v="489" actId="1076"/>
          <ac:grpSpMkLst>
            <pc:docMk/>
            <pc:sldMk cId="1791248831" sldId="2147482012"/>
            <ac:grpSpMk id="129" creationId="{3A1FB8DB-BEBA-9531-B60F-20C3F132CF2F}"/>
          </ac:grpSpMkLst>
        </pc:grpChg>
        <pc:cxnChg chg="add del mod">
          <ac:chgData name="Sindija Kirsteine (LV)" userId="5f25501a-2215-4bb3-9d9c-8d1484ffa7c1" providerId="ADAL" clId="{5C659B16-48DB-453B-907A-8EA353AF644C}" dt="2024-06-26T11:48:54.042" v="806" actId="478"/>
          <ac:cxnSpMkLst>
            <pc:docMk/>
            <pc:sldMk cId="1791248831" sldId="2147482012"/>
            <ac:cxnSpMk id="6" creationId="{565DEA0C-C4AE-073B-846A-625266E200E9}"/>
          </ac:cxnSpMkLst>
        </pc:cxnChg>
        <pc:cxnChg chg="del">
          <ac:chgData name="Sindija Kirsteine (LV)" userId="5f25501a-2215-4bb3-9d9c-8d1484ffa7c1" providerId="ADAL" clId="{5C659B16-48DB-453B-907A-8EA353AF644C}" dt="2024-06-26T11:39:55.050" v="488" actId="478"/>
          <ac:cxnSpMkLst>
            <pc:docMk/>
            <pc:sldMk cId="1791248831" sldId="2147482012"/>
            <ac:cxnSpMk id="29" creationId="{4BBC05D7-CB5F-7B1D-9CC7-D35C7404EC4C}"/>
          </ac:cxnSpMkLst>
        </pc:cxnChg>
        <pc:cxnChg chg="del">
          <ac:chgData name="Sindija Kirsteine (LV)" userId="5f25501a-2215-4bb3-9d9c-8d1484ffa7c1" providerId="ADAL" clId="{5C659B16-48DB-453B-907A-8EA353AF644C}" dt="2024-06-26T11:39:55.050" v="488" actId="478"/>
          <ac:cxnSpMkLst>
            <pc:docMk/>
            <pc:sldMk cId="1791248831" sldId="2147482012"/>
            <ac:cxnSpMk id="30" creationId="{A9BDFD01-2873-88E2-665B-A15782C2DE16}"/>
          </ac:cxnSpMkLst>
        </pc:cxnChg>
        <pc:cxnChg chg="mod">
          <ac:chgData name="Sindija Kirsteine (LV)" userId="5f25501a-2215-4bb3-9d9c-8d1484ffa7c1" providerId="ADAL" clId="{5C659B16-48DB-453B-907A-8EA353AF644C}" dt="2024-06-26T11:45:08.155" v="589" actId="1076"/>
          <ac:cxnSpMkLst>
            <pc:docMk/>
            <pc:sldMk cId="1791248831" sldId="2147482012"/>
            <ac:cxnSpMk id="71" creationId="{2D44A2E0-D428-5D56-66C4-E6041127AEF8}"/>
          </ac:cxnSpMkLst>
        </pc:cxnChg>
        <pc:cxnChg chg="mod">
          <ac:chgData name="Sindija Kirsteine (LV)" userId="5f25501a-2215-4bb3-9d9c-8d1484ffa7c1" providerId="ADAL" clId="{5C659B16-48DB-453B-907A-8EA353AF644C}" dt="2024-06-26T11:45:33.180" v="591" actId="1076"/>
          <ac:cxnSpMkLst>
            <pc:docMk/>
            <pc:sldMk cId="1791248831" sldId="2147482012"/>
            <ac:cxnSpMk id="74" creationId="{A4A77D43-393C-B7CA-2B9C-8F1B47DAF62D}"/>
          </ac:cxnSpMkLst>
        </pc:cxnChg>
        <pc:cxnChg chg="mod">
          <ac:chgData name="Sindija Kirsteine (LV)" userId="5f25501a-2215-4bb3-9d9c-8d1484ffa7c1" providerId="ADAL" clId="{5C659B16-48DB-453B-907A-8EA353AF644C}" dt="2024-06-26T11:46:43.897" v="646" actId="1076"/>
          <ac:cxnSpMkLst>
            <pc:docMk/>
            <pc:sldMk cId="1791248831" sldId="2147482012"/>
            <ac:cxnSpMk id="88" creationId="{8CBAC38D-E058-DAFB-20AD-BB4ADE12F0C6}"/>
          </ac:cxnSpMkLst>
        </pc:cxnChg>
        <pc:cxnChg chg="mod">
          <ac:chgData name="Sindija Kirsteine (LV)" userId="5f25501a-2215-4bb3-9d9c-8d1484ffa7c1" providerId="ADAL" clId="{5C659B16-48DB-453B-907A-8EA353AF644C}" dt="2024-06-26T11:47:51.391" v="788" actId="1076"/>
          <ac:cxnSpMkLst>
            <pc:docMk/>
            <pc:sldMk cId="1791248831" sldId="2147482012"/>
            <ac:cxnSpMk id="98" creationId="{4EA10CA9-6EBD-A2F6-FBBD-551A02CF4701}"/>
          </ac:cxnSpMkLst>
        </pc:cxnChg>
        <pc:cxnChg chg="mod">
          <ac:chgData name="Sindija Kirsteine (LV)" userId="5f25501a-2215-4bb3-9d9c-8d1484ffa7c1" providerId="ADAL" clId="{5C659B16-48DB-453B-907A-8EA353AF644C}" dt="2024-06-26T11:47:01.259" v="723" actId="1037"/>
          <ac:cxnSpMkLst>
            <pc:docMk/>
            <pc:sldMk cId="1791248831" sldId="2147482012"/>
            <ac:cxnSpMk id="130" creationId="{5517A59E-0478-0F8E-5578-D52E18B438AC}"/>
          </ac:cxnSpMkLst>
        </pc:cxnChg>
        <pc:extLst>
          <p:ext xmlns:p="http://schemas.openxmlformats.org/presentationml/2006/main" uri="{D6D511B9-2390-475A-947B-AFAB55BFBCF1}">
            <pc226:cmChg xmlns:pc226="http://schemas.microsoft.com/office/powerpoint/2022/06/main/command" chg="mod">
              <pc226:chgData name="Sindija Kirsteine (LV)" userId="5f25501a-2215-4bb3-9d9c-8d1484ffa7c1" providerId="ADAL" clId="{5C659B16-48DB-453B-907A-8EA353AF644C}" dt="2024-06-26T11:42:00.331" v="533" actId="20577"/>
              <pc2:cmMkLst xmlns:pc2="http://schemas.microsoft.com/office/powerpoint/2019/9/main/command">
                <pc:docMk/>
                <pc:sldMk cId="1791248831" sldId="2147482012"/>
                <pc2:cmMk id="{076195FD-6758-49F6-A8B1-EF2326D1098C}"/>
              </pc2:cmMkLst>
            </pc226:cmChg>
          </p:ext>
        </pc:extLst>
      </pc:sldChg>
      <pc:sldChg chg="addSp delSp modSp mod">
        <pc:chgData name="Sindija Kirsteine (LV)" userId="5f25501a-2215-4bb3-9d9c-8d1484ffa7c1" providerId="ADAL" clId="{5C659B16-48DB-453B-907A-8EA353AF644C}" dt="2024-06-26T12:10:10.863" v="1102" actId="20577"/>
        <pc:sldMkLst>
          <pc:docMk/>
          <pc:sldMk cId="544519598" sldId="2147482017"/>
        </pc:sldMkLst>
        <pc:spChg chg="mod">
          <ac:chgData name="Sindija Kirsteine (LV)" userId="5f25501a-2215-4bb3-9d9c-8d1484ffa7c1" providerId="ADAL" clId="{5C659B16-48DB-453B-907A-8EA353AF644C}" dt="2024-06-26T11:56:12.694" v="856"/>
          <ac:spMkLst>
            <pc:docMk/>
            <pc:sldMk cId="544519598" sldId="2147482017"/>
            <ac:spMk id="2" creationId="{EC47296D-9568-ED7D-0457-80174E2BF2F8}"/>
          </ac:spMkLst>
        </pc:spChg>
        <pc:spChg chg="del">
          <ac:chgData name="Sindija Kirsteine (LV)" userId="5f25501a-2215-4bb3-9d9c-8d1484ffa7c1" providerId="ADAL" clId="{5C659B16-48DB-453B-907A-8EA353AF644C}" dt="2024-06-26T11:55:55.553" v="839" actId="478"/>
          <ac:spMkLst>
            <pc:docMk/>
            <pc:sldMk cId="544519598" sldId="2147482017"/>
            <ac:spMk id="5" creationId="{204821D5-C31E-9544-DF87-B3431C5E9ADE}"/>
          </ac:spMkLst>
        </pc:spChg>
        <pc:spChg chg="mod">
          <ac:chgData name="Sindija Kirsteine (LV)" userId="5f25501a-2215-4bb3-9d9c-8d1484ffa7c1" providerId="ADAL" clId="{5C659B16-48DB-453B-907A-8EA353AF644C}" dt="2024-06-26T12:10:10.863" v="1102" actId="20577"/>
          <ac:spMkLst>
            <pc:docMk/>
            <pc:sldMk cId="544519598" sldId="2147482017"/>
            <ac:spMk id="14" creationId="{4B888F26-7D1A-CA27-B5A8-6248A7263371}"/>
          </ac:spMkLst>
        </pc:spChg>
        <pc:spChg chg="mod">
          <ac:chgData name="Sindija Kirsteine (LV)" userId="5f25501a-2215-4bb3-9d9c-8d1484ffa7c1" providerId="ADAL" clId="{5C659B16-48DB-453B-907A-8EA353AF644C}" dt="2024-06-26T12:10:00.292" v="1096" actId="20577"/>
          <ac:spMkLst>
            <pc:docMk/>
            <pc:sldMk cId="544519598" sldId="2147482017"/>
            <ac:spMk id="18" creationId="{257A3C35-39C9-A4E6-1837-31F170B2C97A}"/>
          </ac:spMkLst>
        </pc:spChg>
        <pc:spChg chg="mod">
          <ac:chgData name="Sindija Kirsteine (LV)" userId="5f25501a-2215-4bb3-9d9c-8d1484ffa7c1" providerId="ADAL" clId="{5C659B16-48DB-453B-907A-8EA353AF644C}" dt="2024-06-26T12:08:40.328" v="1070"/>
          <ac:spMkLst>
            <pc:docMk/>
            <pc:sldMk cId="544519598" sldId="2147482017"/>
            <ac:spMk id="22" creationId="{BDC99A0B-8AB3-4918-5B31-2F9C4926A28C}"/>
          </ac:spMkLst>
        </pc:spChg>
        <pc:spChg chg="mod">
          <ac:chgData name="Sindija Kirsteine (LV)" userId="5f25501a-2215-4bb3-9d9c-8d1484ffa7c1" providerId="ADAL" clId="{5C659B16-48DB-453B-907A-8EA353AF644C}" dt="2024-06-26T11:58:03.786" v="896" actId="207"/>
          <ac:spMkLst>
            <pc:docMk/>
            <pc:sldMk cId="544519598" sldId="2147482017"/>
            <ac:spMk id="24" creationId="{09C2CCCC-B4A3-9533-7C1A-4E7B99F19AB0}"/>
          </ac:spMkLst>
        </pc:spChg>
        <pc:spChg chg="mod">
          <ac:chgData name="Sindija Kirsteine (LV)" userId="5f25501a-2215-4bb3-9d9c-8d1484ffa7c1" providerId="ADAL" clId="{5C659B16-48DB-453B-907A-8EA353AF644C}" dt="2024-06-26T11:59:29.027" v="933" actId="20577"/>
          <ac:spMkLst>
            <pc:docMk/>
            <pc:sldMk cId="544519598" sldId="2147482017"/>
            <ac:spMk id="32" creationId="{642FDFF0-C1EF-2DFC-03F4-C85494893547}"/>
          </ac:spMkLst>
        </pc:spChg>
        <pc:spChg chg="mod">
          <ac:chgData name="Sindija Kirsteine (LV)" userId="5f25501a-2215-4bb3-9d9c-8d1484ffa7c1" providerId="ADAL" clId="{5C659B16-48DB-453B-907A-8EA353AF644C}" dt="2024-06-26T11:58:15.379" v="901" actId="20577"/>
          <ac:spMkLst>
            <pc:docMk/>
            <pc:sldMk cId="544519598" sldId="2147482017"/>
            <ac:spMk id="35" creationId="{195A68F4-D954-A1C0-A647-42A436D9BC2B}"/>
          </ac:spMkLst>
        </pc:spChg>
        <pc:spChg chg="mod">
          <ac:chgData name="Sindija Kirsteine (LV)" userId="5f25501a-2215-4bb3-9d9c-8d1484ffa7c1" providerId="ADAL" clId="{5C659B16-48DB-453B-907A-8EA353AF644C}" dt="2024-06-26T12:09:36.408" v="1091" actId="20577"/>
          <ac:spMkLst>
            <pc:docMk/>
            <pc:sldMk cId="544519598" sldId="2147482017"/>
            <ac:spMk id="36" creationId="{3C145E88-345E-DEB9-9ABA-4CC30EEE55EB}"/>
          </ac:spMkLst>
        </pc:spChg>
        <pc:spChg chg="mod">
          <ac:chgData name="Sindija Kirsteine (LV)" userId="5f25501a-2215-4bb3-9d9c-8d1484ffa7c1" providerId="ADAL" clId="{5C659B16-48DB-453B-907A-8EA353AF644C}" dt="2024-06-26T11:56:05.428" v="853" actId="20577"/>
          <ac:spMkLst>
            <pc:docMk/>
            <pc:sldMk cId="544519598" sldId="2147482017"/>
            <ac:spMk id="50" creationId="{1E384B44-88CC-8F76-E9AF-DBDBDD24EECE}"/>
          </ac:spMkLst>
        </pc:spChg>
        <pc:picChg chg="add del">
          <ac:chgData name="Sindija Kirsteine (LV)" userId="5f25501a-2215-4bb3-9d9c-8d1484ffa7c1" providerId="ADAL" clId="{5C659B16-48DB-453B-907A-8EA353AF644C}" dt="2024-06-26T12:09:21.374" v="1080" actId="478"/>
          <ac:picMkLst>
            <pc:docMk/>
            <pc:sldMk cId="544519598" sldId="2147482017"/>
            <ac:picMk id="8" creationId="{5D2FD41C-4AB8-E6EB-8126-7FCC20DD5A8B}"/>
          </ac:picMkLst>
        </pc:picChg>
      </pc:sldChg>
      <pc:sldChg chg="delSp modSp mod modNotesTx">
        <pc:chgData name="Sindija Kirsteine (LV)" userId="5f25501a-2215-4bb3-9d9c-8d1484ffa7c1" providerId="ADAL" clId="{5C659B16-48DB-453B-907A-8EA353AF644C}" dt="2024-06-26T12:11:35.602" v="1134" actId="20577"/>
        <pc:sldMkLst>
          <pc:docMk/>
          <pc:sldMk cId="1401595425" sldId="2147482018"/>
        </pc:sldMkLst>
        <pc:spChg chg="mod">
          <ac:chgData name="Sindija Kirsteine (LV)" userId="5f25501a-2215-4bb3-9d9c-8d1484ffa7c1" providerId="ADAL" clId="{5C659B16-48DB-453B-907A-8EA353AF644C}" dt="2024-06-26T12:00:18.705" v="941"/>
          <ac:spMkLst>
            <pc:docMk/>
            <pc:sldMk cId="1401595425" sldId="2147482018"/>
            <ac:spMk id="2" creationId="{EC47296D-9568-ED7D-0457-80174E2BF2F8}"/>
          </ac:spMkLst>
        </pc:spChg>
        <pc:spChg chg="del">
          <ac:chgData name="Sindija Kirsteine (LV)" userId="5f25501a-2215-4bb3-9d9c-8d1484ffa7c1" providerId="ADAL" clId="{5C659B16-48DB-453B-907A-8EA353AF644C}" dt="2024-06-26T12:00:11.560" v="938" actId="478"/>
          <ac:spMkLst>
            <pc:docMk/>
            <pc:sldMk cId="1401595425" sldId="2147482018"/>
            <ac:spMk id="3" creationId="{26A01DD1-DDF3-3E83-7AC7-B4F190A01478}"/>
          </ac:spMkLst>
        </pc:spChg>
        <pc:spChg chg="mod">
          <ac:chgData name="Sindija Kirsteine (LV)" userId="5f25501a-2215-4bb3-9d9c-8d1484ffa7c1" providerId="ADAL" clId="{5C659B16-48DB-453B-907A-8EA353AF644C}" dt="2024-06-26T12:11:35.602" v="1134" actId="20577"/>
          <ac:spMkLst>
            <pc:docMk/>
            <pc:sldMk cId="1401595425" sldId="2147482018"/>
            <ac:spMk id="12" creationId="{6C159E5C-6825-65ED-B20E-2427062C845D}"/>
          </ac:spMkLst>
        </pc:spChg>
        <pc:spChg chg="mod">
          <ac:chgData name="Sindija Kirsteine (LV)" userId="5f25501a-2215-4bb3-9d9c-8d1484ffa7c1" providerId="ADAL" clId="{5C659B16-48DB-453B-907A-8EA353AF644C}" dt="2024-06-26T12:10:38.706" v="1109" actId="20577"/>
          <ac:spMkLst>
            <pc:docMk/>
            <pc:sldMk cId="1401595425" sldId="2147482018"/>
            <ac:spMk id="33" creationId="{A9EA678B-1C92-D1EC-5EF2-97D0A4907E68}"/>
          </ac:spMkLst>
        </pc:spChg>
        <pc:spChg chg="mod">
          <ac:chgData name="Sindija Kirsteine (LV)" userId="5f25501a-2215-4bb3-9d9c-8d1484ffa7c1" providerId="ADAL" clId="{5C659B16-48DB-453B-907A-8EA353AF644C}" dt="2024-06-26T12:01:13.317" v="973" actId="20577"/>
          <ac:spMkLst>
            <pc:docMk/>
            <pc:sldMk cId="1401595425" sldId="2147482018"/>
            <ac:spMk id="68" creationId="{DC58C25F-8110-0C29-4A50-5DADA78B621C}"/>
          </ac:spMkLst>
        </pc:spChg>
        <pc:spChg chg="mod">
          <ac:chgData name="Sindija Kirsteine (LV)" userId="5f25501a-2215-4bb3-9d9c-8d1484ffa7c1" providerId="ADAL" clId="{5C659B16-48DB-453B-907A-8EA353AF644C}" dt="2024-06-26T12:01:50.124" v="985" actId="20577"/>
          <ac:spMkLst>
            <pc:docMk/>
            <pc:sldMk cId="1401595425" sldId="2147482018"/>
            <ac:spMk id="75" creationId="{AB24C0B9-0E0F-E3B2-1237-5CBEE719A1F1}"/>
          </ac:spMkLst>
        </pc:spChg>
        <pc:spChg chg="mod">
          <ac:chgData name="Sindija Kirsteine (LV)" userId="5f25501a-2215-4bb3-9d9c-8d1484ffa7c1" providerId="ADAL" clId="{5C659B16-48DB-453B-907A-8EA353AF644C}" dt="2024-06-26T12:02:26.558" v="999" actId="20577"/>
          <ac:spMkLst>
            <pc:docMk/>
            <pc:sldMk cId="1401595425" sldId="2147482018"/>
            <ac:spMk id="76" creationId="{8793B610-11BB-3DD5-343E-D5A1842E54DF}"/>
          </ac:spMkLst>
        </pc:spChg>
        <pc:spChg chg="mod">
          <ac:chgData name="Sindija Kirsteine (LV)" userId="5f25501a-2215-4bb3-9d9c-8d1484ffa7c1" providerId="ADAL" clId="{5C659B16-48DB-453B-907A-8EA353AF644C}" dt="2024-06-26T12:11:20.322" v="1127" actId="20577"/>
          <ac:spMkLst>
            <pc:docMk/>
            <pc:sldMk cId="1401595425" sldId="2147482018"/>
            <ac:spMk id="77" creationId="{7507519A-1DE4-B47D-BFBC-5EC74A788B23}"/>
          </ac:spMkLst>
        </pc:spChg>
        <pc:spChg chg="mod">
          <ac:chgData name="Sindija Kirsteine (LV)" userId="5f25501a-2215-4bb3-9d9c-8d1484ffa7c1" providerId="ADAL" clId="{5C659B16-48DB-453B-907A-8EA353AF644C}" dt="2024-06-26T12:11:03.335" v="1118" actId="20577"/>
          <ac:spMkLst>
            <pc:docMk/>
            <pc:sldMk cId="1401595425" sldId="2147482018"/>
            <ac:spMk id="99" creationId="{805B5EBD-6AAC-3E2E-7379-47BAFD8ABB47}"/>
          </ac:spMkLst>
        </pc:spChg>
      </pc:sldChg>
      <pc:sldChg chg="modSp mod">
        <pc:chgData name="Sindija Kirsteine (LV)" userId="5f25501a-2215-4bb3-9d9c-8d1484ffa7c1" providerId="ADAL" clId="{5C659B16-48DB-453B-907A-8EA353AF644C}" dt="2024-06-26T12:11:51.685" v="1138"/>
        <pc:sldMkLst>
          <pc:docMk/>
          <pc:sldMk cId="2403530007" sldId="2147482019"/>
        </pc:sldMkLst>
        <pc:spChg chg="mod">
          <ac:chgData name="Sindija Kirsteine (LV)" userId="5f25501a-2215-4bb3-9d9c-8d1484ffa7c1" providerId="ADAL" clId="{5C659B16-48DB-453B-907A-8EA353AF644C}" dt="2024-06-26T12:11:51.685" v="1138"/>
          <ac:spMkLst>
            <pc:docMk/>
            <pc:sldMk cId="2403530007" sldId="2147482019"/>
            <ac:spMk id="2" creationId="{EC47296D-9568-ED7D-0457-80174E2BF2F8}"/>
          </ac:spMkLst>
        </pc:spChg>
        <pc:spChg chg="mod">
          <ac:chgData name="Sindija Kirsteine (LV)" userId="5f25501a-2215-4bb3-9d9c-8d1484ffa7c1" providerId="ADAL" clId="{5C659B16-48DB-453B-907A-8EA353AF644C}" dt="2024-06-26T10:47:04.547" v="12"/>
          <ac:spMkLst>
            <pc:docMk/>
            <pc:sldMk cId="2403530007" sldId="2147482019"/>
            <ac:spMk id="14" creationId="{4B888F26-7D1A-CA27-B5A8-6248A7263371}"/>
          </ac:spMkLst>
        </pc:spChg>
        <pc:spChg chg="mod">
          <ac:chgData name="Sindija Kirsteine (LV)" userId="5f25501a-2215-4bb3-9d9c-8d1484ffa7c1" providerId="ADAL" clId="{5C659B16-48DB-453B-907A-8EA353AF644C}" dt="2024-06-26T10:46:55.582" v="11" actId="207"/>
          <ac:spMkLst>
            <pc:docMk/>
            <pc:sldMk cId="2403530007" sldId="2147482019"/>
            <ac:spMk id="18" creationId="{257A3C35-39C9-A4E6-1837-31F170B2C97A}"/>
          </ac:spMkLst>
        </pc:spChg>
        <pc:spChg chg="mod">
          <ac:chgData name="Sindija Kirsteine (LV)" userId="5f25501a-2215-4bb3-9d9c-8d1484ffa7c1" providerId="ADAL" clId="{5C659B16-48DB-453B-907A-8EA353AF644C}" dt="2024-06-26T10:47:12.230" v="13"/>
          <ac:spMkLst>
            <pc:docMk/>
            <pc:sldMk cId="2403530007" sldId="2147482019"/>
            <ac:spMk id="22" creationId="{BDC99A0B-8AB3-4918-5B31-2F9C4926A28C}"/>
          </ac:spMkLst>
        </pc:spChg>
        <pc:spChg chg="mod">
          <ac:chgData name="Sindija Kirsteine (LV)" userId="5f25501a-2215-4bb3-9d9c-8d1484ffa7c1" providerId="ADAL" clId="{5C659B16-48DB-453B-907A-8EA353AF644C}" dt="2024-06-26T10:48:49.568" v="18" actId="20577"/>
          <ac:spMkLst>
            <pc:docMk/>
            <pc:sldMk cId="2403530007" sldId="2147482019"/>
            <ac:spMk id="32" creationId="{642FDFF0-C1EF-2DFC-03F4-C85494893547}"/>
          </ac:spMkLst>
        </pc:spChg>
        <pc:spChg chg="mod">
          <ac:chgData name="Sindija Kirsteine (LV)" userId="5f25501a-2215-4bb3-9d9c-8d1484ffa7c1" providerId="ADAL" clId="{5C659B16-48DB-453B-907A-8EA353AF644C}" dt="2024-06-26T10:46:47.313" v="9"/>
          <ac:spMkLst>
            <pc:docMk/>
            <pc:sldMk cId="2403530007" sldId="2147482019"/>
            <ac:spMk id="36" creationId="{3C145E88-345E-DEB9-9ABA-4CC30EEE55EB}"/>
          </ac:spMkLst>
        </pc:spChg>
      </pc:sldChg>
      <pc:sldChg chg="del">
        <pc:chgData name="Sindija Kirsteine (LV)" userId="5f25501a-2215-4bb3-9d9c-8d1484ffa7c1" providerId="ADAL" clId="{5C659B16-48DB-453B-907A-8EA353AF644C}" dt="2024-06-26T12:20:35.315" v="1222" actId="2696"/>
        <pc:sldMkLst>
          <pc:docMk/>
          <pc:sldMk cId="4066072075" sldId="2147482036"/>
        </pc:sldMkLst>
      </pc:sldChg>
      <pc:sldChg chg="delSp modSp mod">
        <pc:chgData name="Sindija Kirsteine (LV)" userId="5f25501a-2215-4bb3-9d9c-8d1484ffa7c1" providerId="ADAL" clId="{5C659B16-48DB-453B-907A-8EA353AF644C}" dt="2024-06-26T12:18:55.818" v="1208" actId="478"/>
        <pc:sldMkLst>
          <pc:docMk/>
          <pc:sldMk cId="397739886" sldId="2147482037"/>
        </pc:sldMkLst>
        <pc:spChg chg="mod">
          <ac:chgData name="Sindija Kirsteine (LV)" userId="5f25501a-2215-4bb3-9d9c-8d1484ffa7c1" providerId="ADAL" clId="{5C659B16-48DB-453B-907A-8EA353AF644C}" dt="2024-06-26T11:52:48.384" v="822" actId="403"/>
          <ac:spMkLst>
            <pc:docMk/>
            <pc:sldMk cId="397739886" sldId="2147482037"/>
            <ac:spMk id="12" creationId="{879A926F-6658-DAA7-02B9-E966021CE708}"/>
          </ac:spMkLst>
        </pc:spChg>
        <pc:spChg chg="mod">
          <ac:chgData name="Sindija Kirsteine (LV)" userId="5f25501a-2215-4bb3-9d9c-8d1484ffa7c1" providerId="ADAL" clId="{5C659B16-48DB-453B-907A-8EA353AF644C}" dt="2024-06-26T11:53:09.273" v="828" actId="403"/>
          <ac:spMkLst>
            <pc:docMk/>
            <pc:sldMk cId="397739886" sldId="2147482037"/>
            <ac:spMk id="26" creationId="{65F98EEB-1867-24F1-F90B-94B60ABC7A1E}"/>
          </ac:spMkLst>
        </pc:spChg>
        <pc:spChg chg="mod">
          <ac:chgData name="Sindija Kirsteine (LV)" userId="5f25501a-2215-4bb3-9d9c-8d1484ffa7c1" providerId="ADAL" clId="{5C659B16-48DB-453B-907A-8EA353AF644C}" dt="2024-06-26T11:53:01.368" v="824" actId="403"/>
          <ac:spMkLst>
            <pc:docMk/>
            <pc:sldMk cId="397739886" sldId="2147482037"/>
            <ac:spMk id="29" creationId="{D0459FDC-3233-A1DB-B051-A449292A3271}"/>
          </ac:spMkLst>
        </pc:spChg>
        <pc:spChg chg="mod">
          <ac:chgData name="Sindija Kirsteine (LV)" userId="5f25501a-2215-4bb3-9d9c-8d1484ffa7c1" providerId="ADAL" clId="{5C659B16-48DB-453B-907A-8EA353AF644C}" dt="2024-06-26T11:53:07.362" v="827" actId="403"/>
          <ac:spMkLst>
            <pc:docMk/>
            <pc:sldMk cId="397739886" sldId="2147482037"/>
            <ac:spMk id="34" creationId="{12F0F6C0-438D-3E18-23F6-612713CE2115}"/>
          </ac:spMkLst>
        </pc:spChg>
        <pc:spChg chg="mod">
          <ac:chgData name="Sindija Kirsteine (LV)" userId="5f25501a-2215-4bb3-9d9c-8d1484ffa7c1" providerId="ADAL" clId="{5C659B16-48DB-453B-907A-8EA353AF644C}" dt="2024-06-26T11:52:50.201" v="823" actId="403"/>
          <ac:spMkLst>
            <pc:docMk/>
            <pc:sldMk cId="397739886" sldId="2147482037"/>
            <ac:spMk id="59" creationId="{832B2F95-73B0-29EB-38D5-C0F7E24D784C}"/>
          </ac:spMkLst>
        </pc:spChg>
        <pc:spChg chg="mod">
          <ac:chgData name="Sindija Kirsteine (LV)" userId="5f25501a-2215-4bb3-9d9c-8d1484ffa7c1" providerId="ADAL" clId="{5C659B16-48DB-453B-907A-8EA353AF644C}" dt="2024-06-26T11:53:03.086" v="825" actId="403"/>
          <ac:spMkLst>
            <pc:docMk/>
            <pc:sldMk cId="397739886" sldId="2147482037"/>
            <ac:spMk id="60" creationId="{69AC082A-899D-C3B0-421D-F82747759664}"/>
          </ac:spMkLst>
        </pc:spChg>
        <pc:spChg chg="mod">
          <ac:chgData name="Sindija Kirsteine (LV)" userId="5f25501a-2215-4bb3-9d9c-8d1484ffa7c1" providerId="ADAL" clId="{5C659B16-48DB-453B-907A-8EA353AF644C}" dt="2024-06-26T11:53:05.174" v="826" actId="403"/>
          <ac:spMkLst>
            <pc:docMk/>
            <pc:sldMk cId="397739886" sldId="2147482037"/>
            <ac:spMk id="70" creationId="{7207570D-6BC3-69BD-FC5C-45A6B952F966}"/>
          </ac:spMkLst>
        </pc:spChg>
        <pc:spChg chg="mod">
          <ac:chgData name="Sindija Kirsteine (LV)" userId="5f25501a-2215-4bb3-9d9c-8d1484ffa7c1" providerId="ADAL" clId="{5C659B16-48DB-453B-907A-8EA353AF644C}" dt="2024-06-26T11:52:37.640" v="820" actId="403"/>
          <ac:spMkLst>
            <pc:docMk/>
            <pc:sldMk cId="397739886" sldId="2147482037"/>
            <ac:spMk id="78" creationId="{BE3E5224-9CA3-6737-AB60-A9BC8A74B53B}"/>
          </ac:spMkLst>
        </pc:spChg>
        <pc:spChg chg="mod">
          <ac:chgData name="Sindija Kirsteine (LV)" userId="5f25501a-2215-4bb3-9d9c-8d1484ffa7c1" providerId="ADAL" clId="{5C659B16-48DB-453B-907A-8EA353AF644C}" dt="2024-06-26T11:52:39.279" v="821" actId="403"/>
          <ac:spMkLst>
            <pc:docMk/>
            <pc:sldMk cId="397739886" sldId="2147482037"/>
            <ac:spMk id="85" creationId="{08B6BEF4-3A2A-EA8B-9B23-1077D45E646B}"/>
          </ac:spMkLst>
        </pc:spChg>
        <pc:spChg chg="del">
          <ac:chgData name="Sindija Kirsteine (LV)" userId="5f25501a-2215-4bb3-9d9c-8d1484ffa7c1" providerId="ADAL" clId="{5C659B16-48DB-453B-907A-8EA353AF644C}" dt="2024-06-26T12:18:55.818" v="1208" actId="478"/>
          <ac:spMkLst>
            <pc:docMk/>
            <pc:sldMk cId="397739886" sldId="2147482037"/>
            <ac:spMk id="88" creationId="{D215DCB7-5960-6A16-2294-40DEC25781DB}"/>
          </ac:spMkLst>
        </pc:spChg>
      </pc:sldChg>
      <pc:sldChg chg="modSp mod">
        <pc:chgData name="Sindija Kirsteine (LV)" userId="5f25501a-2215-4bb3-9d9c-8d1484ffa7c1" providerId="ADAL" clId="{5C659B16-48DB-453B-907A-8EA353AF644C}" dt="2024-06-26T10:49:37.507" v="43" actId="21"/>
        <pc:sldMkLst>
          <pc:docMk/>
          <pc:sldMk cId="3379316605" sldId="2147482086"/>
        </pc:sldMkLst>
        <pc:spChg chg="mod">
          <ac:chgData name="Sindija Kirsteine (LV)" userId="5f25501a-2215-4bb3-9d9c-8d1484ffa7c1" providerId="ADAL" clId="{5C659B16-48DB-453B-907A-8EA353AF644C}" dt="2024-06-26T10:49:37.507" v="43" actId="21"/>
          <ac:spMkLst>
            <pc:docMk/>
            <pc:sldMk cId="3379316605" sldId="2147482086"/>
            <ac:spMk id="24" creationId="{20F6161A-E3E2-A765-A44D-92728895AC83}"/>
          </ac:spMkLst>
        </pc:spChg>
      </pc:sldChg>
      <pc:sldChg chg="modSp mod">
        <pc:chgData name="Sindija Kirsteine (LV)" userId="5f25501a-2215-4bb3-9d9c-8d1484ffa7c1" providerId="ADAL" clId="{5C659B16-48DB-453B-907A-8EA353AF644C}" dt="2024-06-26T10:49:41.266" v="48" actId="20577"/>
        <pc:sldMkLst>
          <pc:docMk/>
          <pc:sldMk cId="1080075523" sldId="2147482087"/>
        </pc:sldMkLst>
        <pc:spChg chg="mod">
          <ac:chgData name="Sindija Kirsteine (LV)" userId="5f25501a-2215-4bb3-9d9c-8d1484ffa7c1" providerId="ADAL" clId="{5C659B16-48DB-453B-907A-8EA353AF644C}" dt="2024-06-26T10:49:41.266" v="48" actId="20577"/>
          <ac:spMkLst>
            <pc:docMk/>
            <pc:sldMk cId="1080075523" sldId="2147482087"/>
            <ac:spMk id="24" creationId="{20F6161A-E3E2-A765-A44D-92728895AC83}"/>
          </ac:spMkLst>
        </pc:spChg>
      </pc:sldChg>
      <pc:sldChg chg="del">
        <pc:chgData name="Sindija Kirsteine (LV)" userId="5f25501a-2215-4bb3-9d9c-8d1484ffa7c1" providerId="ADAL" clId="{5C659B16-48DB-453B-907A-8EA353AF644C}" dt="2024-06-26T10:50:28.100" v="57" actId="2696"/>
        <pc:sldMkLst>
          <pc:docMk/>
          <pc:sldMk cId="3744340507" sldId="2147482095"/>
        </pc:sldMkLst>
      </pc:sldChg>
      <pc:sldChg chg="del">
        <pc:chgData name="Sindija Kirsteine (LV)" userId="5f25501a-2215-4bb3-9d9c-8d1484ffa7c1" providerId="ADAL" clId="{5C659B16-48DB-453B-907A-8EA353AF644C}" dt="2024-06-26T12:22:04.781" v="1257" actId="2696"/>
        <pc:sldMkLst>
          <pc:docMk/>
          <pc:sldMk cId="88507002" sldId="2147482096"/>
        </pc:sldMkLst>
      </pc:sldChg>
      <pc:sldChg chg="del">
        <pc:chgData name="Sindija Kirsteine (LV)" userId="5f25501a-2215-4bb3-9d9c-8d1484ffa7c1" providerId="ADAL" clId="{5C659B16-48DB-453B-907A-8EA353AF644C}" dt="2024-06-26T12:26:35.794" v="1345" actId="2696"/>
        <pc:sldMkLst>
          <pc:docMk/>
          <pc:sldMk cId="1331285283" sldId="2147482097"/>
        </pc:sldMkLst>
      </pc:sldChg>
      <pc:sldChg chg="del">
        <pc:chgData name="Sindija Kirsteine (LV)" userId="5f25501a-2215-4bb3-9d9c-8d1484ffa7c1" providerId="ADAL" clId="{5C659B16-48DB-453B-907A-8EA353AF644C}" dt="2024-06-26T11:59:38.340" v="935" actId="2696"/>
        <pc:sldMkLst>
          <pc:docMk/>
          <pc:sldMk cId="1401161404" sldId="2147482098"/>
        </pc:sldMkLst>
      </pc:sldChg>
      <pc:sldChg chg="delSp modSp mod">
        <pc:chgData name="Sindija Kirsteine (LV)" userId="5f25501a-2215-4bb3-9d9c-8d1484ffa7c1" providerId="ADAL" clId="{5C659B16-48DB-453B-907A-8EA353AF644C}" dt="2024-06-26T12:21:32.718" v="1246" actId="478"/>
        <pc:sldMkLst>
          <pc:docMk/>
          <pc:sldMk cId="385369569" sldId="2147482100"/>
        </pc:sldMkLst>
        <pc:spChg chg="mod">
          <ac:chgData name="Sindija Kirsteine (LV)" userId="5f25501a-2215-4bb3-9d9c-8d1484ffa7c1" providerId="ADAL" clId="{5C659B16-48DB-453B-907A-8EA353AF644C}" dt="2024-06-26T11:29:41.992" v="180" actId="20577"/>
          <ac:spMkLst>
            <pc:docMk/>
            <pc:sldMk cId="385369569" sldId="2147482100"/>
            <ac:spMk id="7" creationId="{58051A40-6FB2-D129-6018-7981771593EF}"/>
          </ac:spMkLst>
        </pc:spChg>
        <pc:spChg chg="mod">
          <ac:chgData name="Sindija Kirsteine (LV)" userId="5f25501a-2215-4bb3-9d9c-8d1484ffa7c1" providerId="ADAL" clId="{5C659B16-48DB-453B-907A-8EA353AF644C}" dt="2024-06-26T11:28:28.684" v="173" actId="20577"/>
          <ac:spMkLst>
            <pc:docMk/>
            <pc:sldMk cId="385369569" sldId="2147482100"/>
            <ac:spMk id="11" creationId="{4313545E-2120-F08C-5E8F-081952269536}"/>
          </ac:spMkLst>
        </pc:spChg>
        <pc:spChg chg="del">
          <ac:chgData name="Sindija Kirsteine (LV)" userId="5f25501a-2215-4bb3-9d9c-8d1484ffa7c1" providerId="ADAL" clId="{5C659B16-48DB-453B-907A-8EA353AF644C}" dt="2024-06-26T12:21:32.718" v="1246" actId="478"/>
          <ac:spMkLst>
            <pc:docMk/>
            <pc:sldMk cId="385369569" sldId="2147482100"/>
            <ac:spMk id="41" creationId="{E3CACA74-84B6-06F5-AC5E-20CF32E6AC29}"/>
          </ac:spMkLst>
        </pc:spChg>
      </pc:sldChg>
      <pc:sldChg chg="del">
        <pc:chgData name="Sindija Kirsteine (LV)" userId="5f25501a-2215-4bb3-9d9c-8d1484ffa7c1" providerId="ADAL" clId="{5C659B16-48DB-453B-907A-8EA353AF644C}" dt="2024-06-26T12:19:21.912" v="1216" actId="2696"/>
        <pc:sldMkLst>
          <pc:docMk/>
          <pc:sldMk cId="710105288" sldId="2147482101"/>
        </pc:sldMkLst>
      </pc:sldChg>
      <pc:sldChg chg="del">
        <pc:chgData name="Sindija Kirsteine (LV)" userId="5f25501a-2215-4bb3-9d9c-8d1484ffa7c1" providerId="ADAL" clId="{5C659B16-48DB-453B-907A-8EA353AF644C}" dt="2024-06-26T12:21:24.379" v="1240" actId="2696"/>
        <pc:sldMkLst>
          <pc:docMk/>
          <pc:sldMk cId="1411556105" sldId="2147482103"/>
        </pc:sldMkLst>
      </pc:sldChg>
      <pc:sldChg chg="del">
        <pc:chgData name="Sindija Kirsteine (LV)" userId="5f25501a-2215-4bb3-9d9c-8d1484ffa7c1" providerId="ADAL" clId="{5C659B16-48DB-453B-907A-8EA353AF644C}" dt="2024-06-26T12:21:55.943" v="1248" actId="47"/>
        <pc:sldMkLst>
          <pc:docMk/>
          <pc:sldMk cId="1732914265" sldId="2147482104"/>
        </pc:sldMkLst>
      </pc:sldChg>
      <pc:sldChg chg="add del">
        <pc:chgData name="Sindija Kirsteine (LV)" userId="5f25501a-2215-4bb3-9d9c-8d1484ffa7c1" providerId="ADAL" clId="{5C659B16-48DB-453B-907A-8EA353AF644C}" dt="2024-06-26T12:26:49.410" v="1350" actId="2696"/>
        <pc:sldMkLst>
          <pc:docMk/>
          <pc:sldMk cId="1070168670" sldId="2147482105"/>
        </pc:sldMkLst>
      </pc:sldChg>
      <pc:sldChg chg="add del mod modShow">
        <pc:chgData name="Sindija Kirsteine (LV)" userId="5f25501a-2215-4bb3-9d9c-8d1484ffa7c1" providerId="ADAL" clId="{5C659B16-48DB-453B-907A-8EA353AF644C}" dt="2024-06-26T11:55:41.128" v="832" actId="2696"/>
        <pc:sldMkLst>
          <pc:docMk/>
          <pc:sldMk cId="2549440115" sldId="2147482106"/>
        </pc:sldMkLst>
      </pc:sldChg>
      <pc:sldChg chg="add del">
        <pc:chgData name="Sindija Kirsteine (LV)" userId="5f25501a-2215-4bb3-9d9c-8d1484ffa7c1" providerId="ADAL" clId="{5C659B16-48DB-453B-907A-8EA353AF644C}" dt="2024-06-26T12:26:16.306" v="1336" actId="2696"/>
        <pc:sldMkLst>
          <pc:docMk/>
          <pc:sldMk cId="2746388063" sldId="214748210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5</a:t>
            </a:fld>
            <a:endParaRPr lang="en-GB"/>
          </a:p>
        </p:txBody>
      </p:sp>
    </p:spTree>
    <p:extLst>
      <p:ext uri="{BB962C8B-B14F-4D97-AF65-F5344CB8AC3E}">
        <p14:creationId xmlns:p14="http://schemas.microsoft.com/office/powerpoint/2010/main" val="21690669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4</a:t>
            </a:fld>
            <a:endParaRPr lang="en-GB"/>
          </a:p>
        </p:txBody>
      </p:sp>
    </p:spTree>
    <p:extLst>
      <p:ext uri="{BB962C8B-B14F-4D97-AF65-F5344CB8AC3E}">
        <p14:creationId xmlns:p14="http://schemas.microsoft.com/office/powerpoint/2010/main" val="1270093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5</a:t>
            </a:fld>
            <a:endParaRPr lang="en-GB"/>
          </a:p>
        </p:txBody>
      </p:sp>
    </p:spTree>
    <p:extLst>
      <p:ext uri="{BB962C8B-B14F-4D97-AF65-F5344CB8AC3E}">
        <p14:creationId xmlns:p14="http://schemas.microsoft.com/office/powerpoint/2010/main" val="3615338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6</a:t>
            </a:fld>
            <a:endParaRPr lang="en-GB"/>
          </a:p>
        </p:txBody>
      </p:sp>
    </p:spTree>
    <p:extLst>
      <p:ext uri="{BB962C8B-B14F-4D97-AF65-F5344CB8AC3E}">
        <p14:creationId xmlns:p14="http://schemas.microsoft.com/office/powerpoint/2010/main" val="3592474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7</a:t>
            </a:fld>
            <a:endParaRPr lang="en-GB"/>
          </a:p>
        </p:txBody>
      </p:sp>
    </p:spTree>
    <p:extLst>
      <p:ext uri="{BB962C8B-B14F-4D97-AF65-F5344CB8AC3E}">
        <p14:creationId xmlns:p14="http://schemas.microsoft.com/office/powerpoint/2010/main" val="17224698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8</a:t>
            </a:fld>
            <a:endParaRPr lang="en-GB"/>
          </a:p>
        </p:txBody>
      </p:sp>
    </p:spTree>
    <p:extLst>
      <p:ext uri="{BB962C8B-B14F-4D97-AF65-F5344CB8AC3E}">
        <p14:creationId xmlns:p14="http://schemas.microsoft.com/office/powerpoint/2010/main" val="18228177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9</a:t>
            </a:fld>
            <a:endParaRPr lang="en-GB"/>
          </a:p>
        </p:txBody>
      </p:sp>
    </p:spTree>
    <p:extLst>
      <p:ext uri="{BB962C8B-B14F-4D97-AF65-F5344CB8AC3E}">
        <p14:creationId xmlns:p14="http://schemas.microsoft.com/office/powerpoint/2010/main" val="34500703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0</a:t>
            </a:fld>
            <a:endParaRPr lang="en-GB"/>
          </a:p>
        </p:txBody>
      </p:sp>
    </p:spTree>
    <p:extLst>
      <p:ext uri="{BB962C8B-B14F-4D97-AF65-F5344CB8AC3E}">
        <p14:creationId xmlns:p14="http://schemas.microsoft.com/office/powerpoint/2010/main" val="3880470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1</a:t>
            </a:fld>
            <a:endParaRPr lang="en-GB"/>
          </a:p>
        </p:txBody>
      </p:sp>
    </p:spTree>
    <p:extLst>
      <p:ext uri="{BB962C8B-B14F-4D97-AF65-F5344CB8AC3E}">
        <p14:creationId xmlns:p14="http://schemas.microsoft.com/office/powerpoint/2010/main" val="5589160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2</a:t>
            </a:fld>
            <a:endParaRPr lang="en-GB"/>
          </a:p>
        </p:txBody>
      </p:sp>
    </p:spTree>
    <p:extLst>
      <p:ext uri="{BB962C8B-B14F-4D97-AF65-F5344CB8AC3E}">
        <p14:creationId xmlns:p14="http://schemas.microsoft.com/office/powerpoint/2010/main" val="9735477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3</a:t>
            </a:fld>
            <a:endParaRPr lang="en-GB"/>
          </a:p>
        </p:txBody>
      </p:sp>
    </p:spTree>
    <p:extLst>
      <p:ext uri="{BB962C8B-B14F-4D97-AF65-F5344CB8AC3E}">
        <p14:creationId xmlns:p14="http://schemas.microsoft.com/office/powerpoint/2010/main" val="3096293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6</a:t>
            </a:fld>
            <a:endParaRPr lang="en-GB"/>
          </a:p>
        </p:txBody>
      </p:sp>
    </p:spTree>
    <p:extLst>
      <p:ext uri="{BB962C8B-B14F-4D97-AF65-F5344CB8AC3E}">
        <p14:creationId xmlns:p14="http://schemas.microsoft.com/office/powerpoint/2010/main" val="33960803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4</a:t>
            </a:fld>
            <a:endParaRPr lang="en-GB"/>
          </a:p>
        </p:txBody>
      </p:sp>
    </p:spTree>
    <p:extLst>
      <p:ext uri="{BB962C8B-B14F-4D97-AF65-F5344CB8AC3E}">
        <p14:creationId xmlns:p14="http://schemas.microsoft.com/office/powerpoint/2010/main" val="11121815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5</a:t>
            </a:fld>
            <a:endParaRPr lang="en-GB"/>
          </a:p>
        </p:txBody>
      </p:sp>
    </p:spTree>
    <p:extLst>
      <p:ext uri="{BB962C8B-B14F-4D97-AF65-F5344CB8AC3E}">
        <p14:creationId xmlns:p14="http://schemas.microsoft.com/office/powerpoint/2010/main" val="9373733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6</a:t>
            </a:fld>
            <a:endParaRPr lang="en-GB"/>
          </a:p>
        </p:txBody>
      </p:sp>
    </p:spTree>
    <p:extLst>
      <p:ext uri="{BB962C8B-B14F-4D97-AF65-F5344CB8AC3E}">
        <p14:creationId xmlns:p14="http://schemas.microsoft.com/office/powerpoint/2010/main" val="40129053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7</a:t>
            </a:fld>
            <a:endParaRPr lang="en-GB"/>
          </a:p>
        </p:txBody>
      </p:sp>
    </p:spTree>
    <p:extLst>
      <p:ext uri="{BB962C8B-B14F-4D97-AF65-F5344CB8AC3E}">
        <p14:creationId xmlns:p14="http://schemas.microsoft.com/office/powerpoint/2010/main" val="41655059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8</a:t>
            </a:fld>
            <a:endParaRPr lang="en-GB"/>
          </a:p>
        </p:txBody>
      </p:sp>
    </p:spTree>
    <p:extLst>
      <p:ext uri="{BB962C8B-B14F-4D97-AF65-F5344CB8AC3E}">
        <p14:creationId xmlns:p14="http://schemas.microsoft.com/office/powerpoint/2010/main" val="317096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9</a:t>
            </a:fld>
            <a:endParaRPr lang="en-GB"/>
          </a:p>
        </p:txBody>
      </p:sp>
    </p:spTree>
    <p:extLst>
      <p:ext uri="{BB962C8B-B14F-4D97-AF65-F5344CB8AC3E}">
        <p14:creationId xmlns:p14="http://schemas.microsoft.com/office/powerpoint/2010/main" val="27421046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0</a:t>
            </a:fld>
            <a:endParaRPr lang="en-GB"/>
          </a:p>
        </p:txBody>
      </p:sp>
    </p:spTree>
    <p:extLst>
      <p:ext uri="{BB962C8B-B14F-4D97-AF65-F5344CB8AC3E}">
        <p14:creationId xmlns:p14="http://schemas.microsoft.com/office/powerpoint/2010/main" val="42552287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1</a:t>
            </a:fld>
            <a:endParaRPr lang="en-GB"/>
          </a:p>
        </p:txBody>
      </p:sp>
    </p:spTree>
    <p:extLst>
      <p:ext uri="{BB962C8B-B14F-4D97-AF65-F5344CB8AC3E}">
        <p14:creationId xmlns:p14="http://schemas.microsoft.com/office/powerpoint/2010/main" val="26758515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2</a:t>
            </a:fld>
            <a:endParaRPr lang="en-GB"/>
          </a:p>
        </p:txBody>
      </p:sp>
    </p:spTree>
    <p:extLst>
      <p:ext uri="{BB962C8B-B14F-4D97-AF65-F5344CB8AC3E}">
        <p14:creationId xmlns:p14="http://schemas.microsoft.com/office/powerpoint/2010/main" val="842498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3</a:t>
            </a:fld>
            <a:endParaRPr lang="en-GB"/>
          </a:p>
        </p:txBody>
      </p:sp>
    </p:spTree>
    <p:extLst>
      <p:ext uri="{BB962C8B-B14F-4D97-AF65-F5344CB8AC3E}">
        <p14:creationId xmlns:p14="http://schemas.microsoft.com/office/powerpoint/2010/main" val="369085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7</a:t>
            </a:fld>
            <a:endParaRPr lang="en-GB"/>
          </a:p>
        </p:txBody>
      </p:sp>
    </p:spTree>
    <p:extLst>
      <p:ext uri="{BB962C8B-B14F-4D97-AF65-F5344CB8AC3E}">
        <p14:creationId xmlns:p14="http://schemas.microsoft.com/office/powerpoint/2010/main" val="36481053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4</a:t>
            </a:fld>
            <a:endParaRPr lang="en-GB"/>
          </a:p>
        </p:txBody>
      </p:sp>
    </p:spTree>
    <p:extLst>
      <p:ext uri="{BB962C8B-B14F-4D97-AF65-F5344CB8AC3E}">
        <p14:creationId xmlns:p14="http://schemas.microsoft.com/office/powerpoint/2010/main" val="7255997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3950591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762321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8</a:t>
            </a:fld>
            <a:endParaRPr lang="en-GB"/>
          </a:p>
        </p:txBody>
      </p:sp>
    </p:spTree>
    <p:extLst>
      <p:ext uri="{BB962C8B-B14F-4D97-AF65-F5344CB8AC3E}">
        <p14:creationId xmlns:p14="http://schemas.microsoft.com/office/powerpoint/2010/main" val="1141550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9</a:t>
            </a:fld>
            <a:endParaRPr lang="en-GB"/>
          </a:p>
        </p:txBody>
      </p:sp>
    </p:spTree>
    <p:extLst>
      <p:ext uri="{BB962C8B-B14F-4D97-AF65-F5344CB8AC3E}">
        <p14:creationId xmlns:p14="http://schemas.microsoft.com/office/powerpoint/2010/main" val="1013313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0</a:t>
            </a:fld>
            <a:endParaRPr lang="en-GB"/>
          </a:p>
        </p:txBody>
      </p:sp>
    </p:spTree>
    <p:extLst>
      <p:ext uri="{BB962C8B-B14F-4D97-AF65-F5344CB8AC3E}">
        <p14:creationId xmlns:p14="http://schemas.microsoft.com/office/powerpoint/2010/main" val="2063607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n-gb"/>
              <a:t>https://www.vugd.gov.lv/lv/stiprs-vejs-negaiss</a:t>
            </a: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1</a:t>
            </a:fld>
            <a:endParaRPr lang="en-GB"/>
          </a:p>
        </p:txBody>
      </p:sp>
    </p:spTree>
    <p:extLst>
      <p:ext uri="{BB962C8B-B14F-4D97-AF65-F5344CB8AC3E}">
        <p14:creationId xmlns:p14="http://schemas.microsoft.com/office/powerpoint/2010/main" val="4154802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2</a:t>
            </a:fld>
            <a:endParaRPr lang="en-GB"/>
          </a:p>
        </p:txBody>
      </p:sp>
    </p:spTree>
    <p:extLst>
      <p:ext uri="{BB962C8B-B14F-4D97-AF65-F5344CB8AC3E}">
        <p14:creationId xmlns:p14="http://schemas.microsoft.com/office/powerpoint/2010/main" val="4188449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3</a:t>
            </a:fld>
            <a:endParaRPr lang="en-GB"/>
          </a:p>
        </p:txBody>
      </p:sp>
    </p:spTree>
    <p:extLst>
      <p:ext uri="{BB962C8B-B14F-4D97-AF65-F5344CB8AC3E}">
        <p14:creationId xmlns:p14="http://schemas.microsoft.com/office/powerpoint/2010/main" val="2994014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rtlCol="0"/>
          <a:lstStyle/>
          <a:p>
            <a:pPr rtl="0"/>
            <a:r>
              <a:rPr lang="en-gb"/>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767041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rtlCol="0"/>
          <a:lstStyle/>
          <a:p>
            <a:pPr rtl="0"/>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809713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7418387"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11306175"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Title 5"/>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rtlCol="0"/>
          <a:lstStyle>
            <a:lvl1pPr algn="l">
              <a:defRPr/>
            </a:lvl1pPr>
          </a:lstStyle>
          <a:p>
            <a:pPr rtl="0"/>
            <a:r>
              <a:rPr lang="en-gb"/>
              <a:t>Presentation Title</a:t>
            </a:r>
          </a:p>
        </p:txBody>
      </p:sp>
      <p:sp>
        <p:nvSpPr>
          <p:cNvPr id="6" name="Rectangle 5">
            <a:extLst>
              <a:ext uri="{FF2B5EF4-FFF2-40B4-BE49-F238E27FC236}">
                <a16:creationId xmlns:a16="http://schemas.microsoft.com/office/drawing/2014/main" id="{809D7AE3-DC09-FADC-3E28-1C9D0E1377CC}"/>
              </a:ext>
            </a:extLst>
          </p:cNvPr>
          <p:cNvSpPr/>
          <p:nvPr userDrawn="1"/>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kern="0" cap="all" baseline="0" dirty="0">
                <a:solidFill>
                  <a:srgbClr val="A4A3B2"/>
                </a:solidFill>
                <a:ea typeface="Georgia"/>
                <a:cs typeface="Georgia"/>
                <a:sym typeface="Georgia"/>
              </a:rPr>
              <a:t>6. </a:t>
            </a:r>
            <a:r>
              <a:rPr lang="en-US" sz="800" kern="0" cap="all" baseline="0" dirty="0">
                <a:solidFill>
                  <a:srgbClr val="A4A3B2"/>
                </a:solidFill>
                <a:ea typeface="Georgia"/>
                <a:cs typeface="Georgia"/>
                <a:sym typeface="Georgia"/>
              </a:rPr>
              <a:t>Safety tips in the event of disasters</a:t>
            </a:r>
          </a:p>
        </p:txBody>
      </p:sp>
    </p:spTree>
    <p:extLst>
      <p:ext uri="{BB962C8B-B14F-4D97-AF65-F5344CB8AC3E}">
        <p14:creationId xmlns:p14="http://schemas.microsoft.com/office/powerpoint/2010/main" val="1531588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DC7163-24C5-1148-C606-2993367844EC}"/>
              </a:ext>
            </a:extLst>
          </p:cNvPr>
          <p:cNvGraphicFramePr>
            <a:graphicFrameLocks noChangeAspect="1"/>
          </p:cNvGraphicFramePr>
          <p:nvPr userDrawn="1">
            <p:custDataLst>
              <p:tags r:id="rId1"/>
            </p:custDataLst>
            <p:extLst>
              <p:ext uri="{D42A27DB-BD31-4B8C-83A1-F6EECF244321}">
                <p14:modId xmlns:p14="http://schemas.microsoft.com/office/powerpoint/2010/main" val="3606952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DADC7163-24C5-1148-C606-2993367844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F61D9CD-01F9-E7AA-151B-C2AD5B73A256}"/>
              </a:ext>
            </a:extLst>
          </p:cNvPr>
          <p:cNvSpPr>
            <a:spLocks noGrp="1"/>
          </p:cNvSpPr>
          <p:nvPr>
            <p:ph type="pic" sz="quarter" idx="14"/>
          </p:nvPr>
        </p:nvSpPr>
        <p:spPr>
          <a:xfrm>
            <a:off x="4850964" y="2853876"/>
            <a:ext cx="6897688" cy="3317875"/>
          </a:xfrm>
        </p:spPr>
        <p:txBody>
          <a:bodyPr rtlCol="0"/>
          <a:lstStyle/>
          <a:p>
            <a:pPr rtl="0"/>
            <a:endParaRPr lang="en-GB"/>
          </a:p>
        </p:txBody>
      </p:sp>
      <p:sp>
        <p:nvSpPr>
          <p:cNvPr id="2" name="Title 1"/>
          <p:cNvSpPr>
            <a:spLocks noGrp="1"/>
          </p:cNvSpPr>
          <p:nvPr>
            <p:ph type="title" hasCustomPrompt="1"/>
          </p:nvPr>
        </p:nvSpPr>
        <p:spPr/>
        <p:txBody>
          <a:bodyPr vert="horz"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rtlCol="0"/>
          <a:lstStyle>
            <a:lvl1pPr algn="l">
              <a:defRPr/>
            </a:lvl1pPr>
          </a:lstStyle>
          <a:p>
            <a:pPr rtl="0"/>
            <a:r>
              <a:rPr lang="en-gb"/>
              <a:t>Presentation Title</a:t>
            </a:r>
          </a:p>
        </p:txBody>
      </p:sp>
      <p:sp>
        <p:nvSpPr>
          <p:cNvPr id="7" name="Rectangle 6">
            <a:extLst>
              <a:ext uri="{FF2B5EF4-FFF2-40B4-BE49-F238E27FC236}">
                <a16:creationId xmlns:a16="http://schemas.microsoft.com/office/drawing/2014/main" id="{6AB86BF5-8538-E32A-B346-35C40B580E8F}"/>
              </a:ext>
            </a:extLst>
          </p:cNvPr>
          <p:cNvSpPr/>
          <p:nvPr userDrawn="1"/>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kern="0">
                <a:solidFill>
                  <a:srgbClr val="A4A3B2"/>
                </a:solidFill>
                <a:ea typeface="Georgia"/>
                <a:cs typeface="Georgia"/>
                <a:sym typeface="Georgia"/>
              </a:rPr>
              <a:t>4. KATASTROFAS PĀRVALDĪŠANA UN TO VEIDI</a:t>
            </a:r>
          </a:p>
        </p:txBody>
      </p:sp>
    </p:spTree>
    <p:extLst>
      <p:ext uri="{BB962C8B-B14F-4D97-AF65-F5344CB8AC3E}">
        <p14:creationId xmlns:p14="http://schemas.microsoft.com/office/powerpoint/2010/main" val="39317333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C8B76D5-4AF8-3657-C78E-B40F7D923142}"/>
              </a:ext>
            </a:extLst>
          </p:cNvPr>
          <p:cNvGraphicFramePr>
            <a:graphicFrameLocks noChangeAspect="1"/>
          </p:cNvGraphicFramePr>
          <p:nvPr userDrawn="1">
            <p:custDataLst>
              <p:tags r:id="rId14"/>
            </p:custDataLst>
            <p:extLst>
              <p:ext uri="{D42A27DB-BD31-4B8C-83A1-F6EECF244321}">
                <p14:modId xmlns:p14="http://schemas.microsoft.com/office/powerpoint/2010/main" val="8928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9" name="think-cell data - do not delete" hidden="1">
                        <a:extLst>
                          <a:ext uri="{FF2B5EF4-FFF2-40B4-BE49-F238E27FC236}">
                            <a16:creationId xmlns:a16="http://schemas.microsoft.com/office/drawing/2014/main" id="{0C8B76D5-4AF8-3657-C78E-B40F7D9231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en-gb"/>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en-gb"/>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rtl="0"/>
            <a:r>
              <a:rPr lang="en-gb"/>
              <a:t>Presentation Title</a:t>
            </a:r>
          </a:p>
        </p:txBody>
      </p:sp>
      <p:sp>
        <p:nvSpPr>
          <p:cNvPr id="10" name="Taisnstūris 6">
            <a:extLst>
              <a:ext uri="{FF2B5EF4-FFF2-40B4-BE49-F238E27FC236}">
                <a16:creationId xmlns:a16="http://schemas.microsoft.com/office/drawing/2014/main" id="{A2BE061D-B094-EE33-34BA-06B6F7665E56}"/>
              </a:ext>
            </a:extLst>
          </p:cNvPr>
          <p:cNvSpPr/>
          <p:nvPr userDrawn="1"/>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1" name="Taisnstūris 3">
            <a:extLst>
              <a:ext uri="{FF2B5EF4-FFF2-40B4-BE49-F238E27FC236}">
                <a16:creationId xmlns:a16="http://schemas.microsoft.com/office/drawing/2014/main" id="{0FB7B73C-8236-8809-83D8-F680B2E227E5}"/>
              </a:ext>
            </a:extLst>
          </p:cNvPr>
          <p:cNvSpPr/>
          <p:nvPr userDrawn="1"/>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2" name="Taisnstūris 4">
            <a:extLst>
              <a:ext uri="{FF2B5EF4-FFF2-40B4-BE49-F238E27FC236}">
                <a16:creationId xmlns:a16="http://schemas.microsoft.com/office/drawing/2014/main" id="{1F1F5031-D3F1-1B08-731E-193E5BBAED83}"/>
              </a:ext>
            </a:extLst>
          </p:cNvPr>
          <p:cNvSpPr/>
          <p:nvPr userDrawn="1"/>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3" name="Taisnstūris 7">
            <a:extLst>
              <a:ext uri="{FF2B5EF4-FFF2-40B4-BE49-F238E27FC236}">
                <a16:creationId xmlns:a16="http://schemas.microsoft.com/office/drawing/2014/main" id="{50E6FB7E-3DB1-7A74-A415-F9A08DAE38E6}"/>
              </a:ext>
            </a:extLst>
          </p:cNvPr>
          <p:cNvSpPr/>
          <p:nvPr userDrawn="1"/>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4" name="Taisnstūris 5">
            <a:extLst>
              <a:ext uri="{FF2B5EF4-FFF2-40B4-BE49-F238E27FC236}">
                <a16:creationId xmlns:a16="http://schemas.microsoft.com/office/drawing/2014/main" id="{B82076D9-005F-2DCA-F79E-E6F39D683ED6}"/>
              </a:ext>
            </a:extLst>
          </p:cNvPr>
          <p:cNvSpPr/>
          <p:nvPr userDrawn="1"/>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5" name="Rectangle 14">
            <a:extLst>
              <a:ext uri="{FF2B5EF4-FFF2-40B4-BE49-F238E27FC236}">
                <a16:creationId xmlns:a16="http://schemas.microsoft.com/office/drawing/2014/main" id="{642E82FD-FD17-024C-673F-F303B3933EDB}"/>
              </a:ext>
            </a:extLst>
          </p:cNvPr>
          <p:cNvSpPr/>
          <p:nvPr userDrawn="1"/>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28" r:id="rId2"/>
    <p:sldLayoutId id="2147483740" r:id="rId3"/>
    <p:sldLayoutId id="2147483741" r:id="rId4"/>
    <p:sldLayoutId id="2147483742" r:id="rId5"/>
    <p:sldLayoutId id="2147483743" r:id="rId6"/>
    <p:sldLayoutId id="2147483744" r:id="rId7"/>
    <p:sldLayoutId id="2147483786" r:id="rId8"/>
    <p:sldLayoutId id="2147483796" r:id="rId9"/>
    <p:sldLayoutId id="2147483787" r:id="rId10"/>
    <p:sldLayoutId id="2147483794" r:id="rId11"/>
    <p:sldLayoutId id="2147483795" r:id="rId12"/>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18.jpe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19.jpeg"/><Relationship Id="rId5" Type="http://schemas.openxmlformats.org/officeDocument/2006/relationships/image" Target="../media/image2.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10.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ags" Target="../tags/tag15.xml"/><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0.jpeg"/><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hyperlink" Target="https://112.lv/lv/raksts/225/evakuacija-un-arkartas-gadijumu-soma?objects_path=lv%2Fraksts%2F225%2Fevakuacija-un-arkartas-gadijumu-soma" TargetMode="Externa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image" Target="../media/image23.jpg"/><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1.jpeg"/><Relationship Id="rId4" Type="http://schemas.openxmlformats.org/officeDocument/2006/relationships/image" Target="../media/image10.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hyperlink" Target="https://112.lv/lv/raksts/225/evakuacija-un-arkartas-gadijumu-soma?objects_path=lv%2Fraksts%2F225%2Fevakuacija-un-arkartas-gadijumu-soma" TargetMode="External"/><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hyperlink" Target="https://static.lsm.lv/documents/1ym.pdf" TargetMode="Externa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29.xml"/><Relationship Id="rId7" Type="http://schemas.openxmlformats.org/officeDocument/2006/relationships/hyperlink" Target="https://www.vugd.gov.lv/lv/vadlinijas-potencialo-patvertnu-minimalajam-tehniskajam-prasibam" TargetMode="External"/><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image" Target="../media/image25.png"/><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openxmlformats.org/officeDocument/2006/relationships/hyperlink" Target="https://static.lsm.lv/documents/1ym.pdf"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15.jpeg"/><Relationship Id="rId5" Type="http://schemas.openxmlformats.org/officeDocument/2006/relationships/image" Target="../media/image2.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hyperlink" Target="https://www.youtube.com/watch?v=TqCewTZAWdU&amp;t=57s"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hyperlink" Target="https://www.vugd.gov.lv/lv/pludi" TargetMode="External"/><Relationship Id="rId5" Type="http://schemas.openxmlformats.org/officeDocument/2006/relationships/image" Target="../media/image17.png"/><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a:extLst>
              <a:ext uri="{FF2B5EF4-FFF2-40B4-BE49-F238E27FC236}">
                <a16:creationId xmlns:a16="http://schemas.microsoft.com/office/drawing/2014/main" id="{6333E015-E3E5-C297-ECEF-3FBADE746AA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p:pic>
      <p:sp>
        <p:nvSpPr>
          <p:cNvPr id="22" name="Rectangle 21">
            <a:extLst>
              <a:ext uri="{FF2B5EF4-FFF2-40B4-BE49-F238E27FC236}">
                <a16:creationId xmlns:a16="http://schemas.microsoft.com/office/drawing/2014/main" id="{1DD6BAA7-6B8B-B5D1-983C-47F7088D2D65}"/>
              </a:ext>
            </a:extLst>
          </p:cNvPr>
          <p:cNvSpPr/>
          <p:nvPr/>
        </p:nvSpPr>
        <p:spPr>
          <a:xfrm>
            <a:off x="0" y="0"/>
            <a:ext cx="12192000" cy="6858001"/>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nvGrpSpPr>
          <p:cNvPr id="11" name="Group 10">
            <a:extLst>
              <a:ext uri="{FF2B5EF4-FFF2-40B4-BE49-F238E27FC236}">
                <a16:creationId xmlns:a16="http://schemas.microsoft.com/office/drawing/2014/main" id="{31723724-4107-226F-F1E6-53B5BB42B4BC}"/>
              </a:ext>
            </a:extLst>
          </p:cNvPr>
          <p:cNvGrpSpPr/>
          <p:nvPr/>
        </p:nvGrpSpPr>
        <p:grpSpPr>
          <a:xfrm>
            <a:off x="12385675" y="0"/>
            <a:ext cx="659900" cy="5589977"/>
            <a:chOff x="12385675" y="0"/>
            <a:chExt cx="659900" cy="5589977"/>
          </a:xfrm>
        </p:grpSpPr>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US"/>
            </a:p>
          </p:txBody>
        </p:sp>
      </p:grpSp>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1" name="Rectangle 20">
            <a:extLst>
              <a:ext uri="{FF2B5EF4-FFF2-40B4-BE49-F238E27FC236}">
                <a16:creationId xmlns:a16="http://schemas.microsoft.com/office/drawing/2014/main" id="{33708452-0105-B103-BDC2-411DE3647398}"/>
              </a:ext>
            </a:extLst>
          </p:cNvPr>
          <p:cNvSpPr/>
          <p:nvPr/>
        </p:nvSpPr>
        <p:spPr>
          <a:xfrm>
            <a:off x="-111429" y="5047534"/>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TextBox 25">
            <a:extLst>
              <a:ext uri="{FF2B5EF4-FFF2-40B4-BE49-F238E27FC236}">
                <a16:creationId xmlns:a16="http://schemas.microsoft.com/office/drawing/2014/main" id="{E7547A2F-AE9E-271D-1AF9-55BAE6CCE9CE}"/>
              </a:ext>
            </a:extLst>
          </p:cNvPr>
          <p:cNvSpPr txBox="1"/>
          <p:nvPr/>
        </p:nvSpPr>
        <p:spPr>
          <a:xfrm>
            <a:off x="0" y="857851"/>
            <a:ext cx="6528816" cy="1415120"/>
          </a:xfrm>
          <a:prstGeom prst="rect">
            <a:avLst/>
          </a:prstGeom>
          <a:solidFill>
            <a:srgbClr val="525A72"/>
          </a:solidFill>
        </p:spPr>
        <p:txBody>
          <a:bodyPr wrap="square" lIns="468000" tIns="108000" rIns="108000" bIns="108000" rtlCol="0" anchor="ctr">
            <a:noAutofit/>
          </a:bodyPr>
          <a:lstStyle/>
          <a:p>
            <a:pPr rtl="0">
              <a:lnSpc>
                <a:spcPct val="90000"/>
              </a:lnSpc>
            </a:pPr>
            <a:r>
              <a:rPr lang="en-gb" sz="4400" dirty="0">
                <a:solidFill>
                  <a:schemeClr val="bg1"/>
                </a:solidFill>
                <a:latin typeface="+mj-lt"/>
              </a:rPr>
              <a:t>6. Safety tips </a:t>
            </a:r>
            <a:endParaRPr lang="en-US" sz="4400" dirty="0">
              <a:solidFill>
                <a:schemeClr val="bg1"/>
              </a:solidFill>
              <a:latin typeface="+mj-lt"/>
            </a:endParaRPr>
          </a:p>
          <a:p>
            <a:pPr rtl="0">
              <a:lnSpc>
                <a:spcPct val="90000"/>
              </a:lnSpc>
            </a:pPr>
            <a:r>
              <a:rPr lang="en-gb" sz="4400" dirty="0">
                <a:solidFill>
                  <a:schemeClr val="bg1"/>
                </a:solidFill>
                <a:latin typeface="+mj-lt"/>
              </a:rPr>
              <a:t>in the event of disasters</a:t>
            </a:r>
          </a:p>
        </p:txBody>
      </p:sp>
      <p:sp>
        <p:nvSpPr>
          <p:cNvPr id="2" name="TextBox 1">
            <a:extLst>
              <a:ext uri="{FF2B5EF4-FFF2-40B4-BE49-F238E27FC236}">
                <a16:creationId xmlns:a16="http://schemas.microsoft.com/office/drawing/2014/main" id="{6B361641-B2C8-1D54-5E2A-B80A7C3D9D33}"/>
              </a:ext>
            </a:extLst>
          </p:cNvPr>
          <p:cNvSpPr txBox="1"/>
          <p:nvPr/>
        </p:nvSpPr>
        <p:spPr>
          <a:xfrm>
            <a:off x="1584" y="242071"/>
            <a:ext cx="5515617" cy="422405"/>
          </a:xfrm>
          <a:prstGeom prst="rect">
            <a:avLst/>
          </a:prstGeom>
          <a:solidFill>
            <a:srgbClr val="CFD6E8"/>
          </a:solidFill>
        </p:spPr>
        <p:txBody>
          <a:bodyPr wrap="square" lIns="468000" tIns="72000" rIns="72000" bIns="72000" rtlCol="0" anchor="t">
            <a:spAutoFit/>
          </a:bodyPr>
          <a:lstStyle/>
          <a:p>
            <a:pPr rtl="0"/>
            <a:r>
              <a:rPr lang="en-gb" dirty="0">
                <a:latin typeface="+mj-lt"/>
              </a:rPr>
              <a:t>Study course "Civil Protection"</a:t>
            </a:r>
            <a:endParaRPr lang="en-GB" dirty="0"/>
          </a:p>
        </p:txBody>
      </p:sp>
      <p:sp>
        <p:nvSpPr>
          <p:cNvPr id="9" name="TextBox 8">
            <a:extLst>
              <a:ext uri="{FF2B5EF4-FFF2-40B4-BE49-F238E27FC236}">
                <a16:creationId xmlns:a16="http://schemas.microsoft.com/office/drawing/2014/main" id="{E69B39FE-875A-489D-52D4-533D10EBC3B1}"/>
              </a:ext>
            </a:extLst>
          </p:cNvPr>
          <p:cNvSpPr txBox="1"/>
          <p:nvPr/>
        </p:nvSpPr>
        <p:spPr>
          <a:xfrm>
            <a:off x="442911" y="3456928"/>
            <a:ext cx="10113199" cy="1007181"/>
          </a:xfrm>
          <a:prstGeom prst="rect">
            <a:avLst/>
          </a:prstGeom>
          <a:noFill/>
        </p:spPr>
        <p:txBody>
          <a:bodyPr wrap="square" lIns="72000" tIns="72000" rIns="72000" bIns="72000" rtlCol="0" anchor="t">
            <a:spAutoFit/>
          </a:bodyPr>
          <a:lstStyle/>
          <a:p>
            <a:r>
              <a:rPr lang="en-US" sz="1400" b="0" i="0" dirty="0">
                <a:solidFill>
                  <a:schemeClr val="bg1"/>
                </a:solidFill>
                <a:effectLst/>
                <a:latin typeface="+mj-lt"/>
              </a:rPr>
              <a:t>Developed in the framework of the European </a:t>
            </a:r>
            <a:r>
              <a:rPr lang="en-US" sz="1400" dirty="0">
                <a:solidFill>
                  <a:schemeClr val="bg1"/>
                </a:solidFill>
                <a:latin typeface="+mj-lt"/>
              </a:rPr>
              <a:t>Commission’s </a:t>
            </a:r>
            <a:r>
              <a:rPr lang="en-US" sz="1400" b="0" i="0" dirty="0">
                <a:solidFill>
                  <a:schemeClr val="bg1"/>
                </a:solidFill>
                <a:effectLst/>
                <a:latin typeface="+mj-lt"/>
              </a:rPr>
              <a:t>Civil Protection Financial Instrument "Track1" project "Establishment of comprehensive civil protection and disaster management training for </a:t>
            </a:r>
            <a:r>
              <a:rPr lang="en-US" sz="1400" dirty="0">
                <a:solidFill>
                  <a:schemeClr val="bg1"/>
                </a:solidFill>
                <a:latin typeface="+mj-lt"/>
              </a:rPr>
              <a:t>governmental institutions</a:t>
            </a:r>
            <a:r>
              <a:rPr lang="en-US" sz="1400" b="0" i="0" dirty="0">
                <a:solidFill>
                  <a:schemeClr val="bg1"/>
                </a:solidFill>
                <a:effectLst/>
                <a:latin typeface="+mj-lt"/>
              </a:rPr>
              <a:t>, civil protection commissions</a:t>
            </a:r>
            <a:r>
              <a:rPr lang="en-US" sz="1400" dirty="0">
                <a:solidFill>
                  <a:schemeClr val="bg1"/>
                </a:solidFill>
                <a:latin typeface="+mj-lt"/>
              </a:rPr>
              <a:t> of municipalities</a:t>
            </a:r>
            <a:r>
              <a:rPr lang="en-US" sz="1400" b="0" i="0" dirty="0">
                <a:solidFill>
                  <a:schemeClr val="bg1"/>
                </a:solidFill>
                <a:effectLst/>
                <a:latin typeface="+mj-lt"/>
              </a:rPr>
              <a:t>, universities, Fire </a:t>
            </a:r>
            <a:r>
              <a:rPr lang="en-US" sz="1400" dirty="0">
                <a:solidFill>
                  <a:schemeClr val="bg1"/>
                </a:solidFill>
                <a:latin typeface="+mj-lt"/>
              </a:rPr>
              <a:t>Safety </a:t>
            </a:r>
            <a:r>
              <a:rPr lang="en-US" sz="1400" b="0" i="0" dirty="0">
                <a:solidFill>
                  <a:schemeClr val="bg1"/>
                </a:solidFill>
                <a:effectLst/>
                <a:latin typeface="+mj-lt"/>
              </a:rPr>
              <a:t>and Civil Protection</a:t>
            </a:r>
            <a:r>
              <a:rPr lang="en-US" sz="1400" dirty="0">
                <a:solidFill>
                  <a:schemeClr val="bg1"/>
                </a:solidFill>
                <a:latin typeface="+mj-lt"/>
              </a:rPr>
              <a:t> College</a:t>
            </a:r>
            <a:r>
              <a:rPr lang="en-US" sz="1400" b="0" i="0" dirty="0">
                <a:solidFill>
                  <a:schemeClr val="bg1"/>
                </a:solidFill>
                <a:effectLst/>
                <a:latin typeface="+mj-lt"/>
              </a:rPr>
              <a:t>, </a:t>
            </a:r>
            <a:r>
              <a:rPr lang="en-US" sz="1400" dirty="0">
                <a:solidFill>
                  <a:schemeClr val="bg1"/>
                </a:solidFill>
                <a:latin typeface="+mj-lt"/>
              </a:rPr>
              <a:t>as well as establishing </a:t>
            </a:r>
            <a:r>
              <a:rPr lang="en-US" sz="1400" b="0" i="0" dirty="0">
                <a:solidFill>
                  <a:schemeClr val="bg1"/>
                </a:solidFill>
                <a:effectLst/>
                <a:latin typeface="+mj-lt"/>
              </a:rPr>
              <a:t>safety </a:t>
            </a:r>
            <a:r>
              <a:rPr lang="en-US" sz="1400" b="0" i="0">
                <a:solidFill>
                  <a:schemeClr val="bg1"/>
                </a:solidFill>
                <a:effectLst/>
                <a:latin typeface="+mj-lt"/>
              </a:rPr>
              <a:t>advice for the public" (ECHO/SUB/2022/TRACK1/884396)</a:t>
            </a:r>
            <a:r>
              <a:rPr lang="en-US" sz="1400">
                <a:solidFill>
                  <a:schemeClr val="bg1"/>
                </a:solidFill>
                <a:latin typeface="+mj-lt"/>
              </a:rPr>
              <a:t> </a:t>
            </a:r>
            <a:endParaRPr lang="en-GB" sz="1400">
              <a:solidFill>
                <a:srgbClr val="000000"/>
              </a:solidFill>
              <a:latin typeface="+mj-lt"/>
            </a:endParaRPr>
          </a:p>
        </p:txBody>
      </p:sp>
      <p:grpSp>
        <p:nvGrpSpPr>
          <p:cNvPr id="10" name="Group 9">
            <a:extLst>
              <a:ext uri="{FF2B5EF4-FFF2-40B4-BE49-F238E27FC236}">
                <a16:creationId xmlns:a16="http://schemas.microsoft.com/office/drawing/2014/main" id="{98E9A599-D264-314E-3F9C-FE92D660C28D}"/>
              </a:ext>
            </a:extLst>
          </p:cNvPr>
          <p:cNvGrpSpPr/>
          <p:nvPr/>
        </p:nvGrpSpPr>
        <p:grpSpPr>
          <a:xfrm>
            <a:off x="496237" y="4969741"/>
            <a:ext cx="1603320" cy="1837157"/>
            <a:chOff x="93951" y="-10601"/>
            <a:chExt cx="1603435" cy="1837857"/>
          </a:xfrm>
        </p:grpSpPr>
        <p:pic>
          <p:nvPicPr>
            <p:cNvPr id="12" name="Picture 11" descr="A blue and black flag with black text&#10;&#10;Description automatically generated">
              <a:extLst>
                <a:ext uri="{FF2B5EF4-FFF2-40B4-BE49-F238E27FC236}">
                  <a16:creationId xmlns:a16="http://schemas.microsoft.com/office/drawing/2014/main" id="{8906F70F-A346-CE1C-604E-C814C368EDB5}"/>
                </a:ext>
              </a:extLst>
            </p:cNvPr>
            <p:cNvPicPr>
              <a:picLocks noChangeAspect="1"/>
            </p:cNvPicPr>
            <p:nvPr/>
          </p:nvPicPr>
          <p:blipFill>
            <a:blip r:embed="rId3"/>
            <a:stretch>
              <a:fillRect/>
            </a:stretch>
          </p:blipFill>
          <p:spPr>
            <a:xfrm>
              <a:off x="131476" y="-10601"/>
              <a:ext cx="1565910" cy="1586865"/>
            </a:xfrm>
            <a:prstGeom prst="rect">
              <a:avLst/>
            </a:prstGeom>
          </p:spPr>
        </p:pic>
        <p:sp>
          <p:nvSpPr>
            <p:cNvPr id="18" name="Text Box 2">
              <a:extLst>
                <a:ext uri="{FF2B5EF4-FFF2-40B4-BE49-F238E27FC236}">
                  <a16:creationId xmlns:a16="http://schemas.microsoft.com/office/drawing/2014/main" id="{B6C607B3-E1B0-F998-155E-21F10B6CDEF6}"/>
                </a:ext>
              </a:extLst>
            </p:cNvPr>
            <p:cNvSpPr txBox="1">
              <a:spLocks noChangeArrowheads="1"/>
            </p:cNvSpPr>
            <p:nvPr/>
          </p:nvSpPr>
          <p:spPr bwMode="auto">
            <a:xfrm>
              <a:off x="93951" y="1073986"/>
              <a:ext cx="1524000" cy="753270"/>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7000"/>
                </a:lnSpc>
                <a:spcAft>
                  <a:spcPts val="800"/>
                </a:spcAft>
              </a:pP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Funded by</a:t>
              </a:r>
              <a:b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br>
              <a:r>
                <a:rPr lang="en-GB" sz="1200" b="1" kern="100" dirty="0">
                  <a:solidFill>
                    <a:srgbClr val="003399"/>
                  </a:solidFill>
                  <a:effectLst/>
                  <a:latin typeface="Arial" panose="020B0604020202020204" pitchFamily="34" charset="0"/>
                  <a:ea typeface="Arial" panose="020B0604020202020204" pitchFamily="34" charset="0"/>
                  <a:cs typeface="Times New Roman" panose="02020603050405020304" pitchFamily="18" charset="0"/>
                </a:rPr>
                <a:t>The European Union</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100" kern="100" dirty="0">
                  <a:effectLst/>
                  <a:latin typeface="Arial" panose="020B0604020202020204" pitchFamily="34" charset="0"/>
                  <a:ea typeface="Aptos" panose="020B0004020202020204" pitchFamily="34" charset="0"/>
                  <a:cs typeface="Times New Roman" panose="02020603050405020304" pitchFamily="18" charset="0"/>
                </a:rPr>
                <a:t> </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19" name="Group 18">
            <a:extLst>
              <a:ext uri="{FF2B5EF4-FFF2-40B4-BE49-F238E27FC236}">
                <a16:creationId xmlns:a16="http://schemas.microsoft.com/office/drawing/2014/main" id="{96391A0D-C6BC-D7FA-04A9-DE8D105465D5}"/>
              </a:ext>
            </a:extLst>
          </p:cNvPr>
          <p:cNvGrpSpPr/>
          <p:nvPr/>
        </p:nvGrpSpPr>
        <p:grpSpPr>
          <a:xfrm>
            <a:off x="2411857" y="5375417"/>
            <a:ext cx="1570991" cy="1356995"/>
            <a:chOff x="0" y="0"/>
            <a:chExt cx="1571080" cy="1357086"/>
          </a:xfrm>
        </p:grpSpPr>
        <p:pic>
          <p:nvPicPr>
            <p:cNvPr id="20" name="Picture 19" descr="Valsts ugunsdzēsības un glābšanas dienests">
              <a:extLst>
                <a:ext uri="{FF2B5EF4-FFF2-40B4-BE49-F238E27FC236}">
                  <a16:creationId xmlns:a16="http://schemas.microsoft.com/office/drawing/2014/main" id="{D3834ACF-3CA3-E767-EFCC-DCB3CB76CC0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8943" y="0"/>
              <a:ext cx="1422400" cy="1278255"/>
            </a:xfrm>
            <a:prstGeom prst="rect">
              <a:avLst/>
            </a:prstGeom>
            <a:noFill/>
            <a:extLst>
              <a:ext uri="{909E8E84-426E-40DD-AFC4-6F175D3DCCD1}">
                <a14:hiddenFill xmlns:a14="http://schemas.microsoft.com/office/drawing/2010/main">
                  <a:solidFill>
                    <a:srgbClr val="FFFFFF"/>
                  </a:solidFill>
                </a14:hiddenFill>
              </a:ext>
            </a:extLst>
          </p:spPr>
        </p:pic>
        <p:sp>
          <p:nvSpPr>
            <p:cNvPr id="27" name="Text Box 2">
              <a:extLst>
                <a:ext uri="{FF2B5EF4-FFF2-40B4-BE49-F238E27FC236}">
                  <a16:creationId xmlns:a16="http://schemas.microsoft.com/office/drawing/2014/main" id="{07A81CED-435C-4318-7E98-64498C761362}"/>
                </a:ext>
              </a:extLst>
            </p:cNvPr>
            <p:cNvSpPr txBox="1">
              <a:spLocks noChangeArrowheads="1"/>
            </p:cNvSpPr>
            <p:nvPr/>
          </p:nvSpPr>
          <p:spPr bwMode="auto">
            <a:xfrm>
              <a:off x="0" y="889000"/>
              <a:ext cx="1571080" cy="468086"/>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6000"/>
                </a:lnSpc>
                <a:spcAft>
                  <a:spcPts val="800"/>
                </a:spcAft>
              </a:pPr>
              <a:r>
                <a:rPr lang="en-GB" sz="1100" b="1" kern="100" dirty="0">
                  <a:solidFill>
                    <a:srgbClr val="000000"/>
                  </a:solidFill>
                  <a:effectLst/>
                  <a:latin typeface="Arial Narrow" panose="020B0606020202030204" pitchFamily="34" charset="0"/>
                  <a:ea typeface="Arial Narrow" panose="020B0606020202030204" pitchFamily="34" charset="0"/>
                  <a:cs typeface="Arial" panose="020B0604020202020204" pitchFamily="34" charset="0"/>
                </a:rPr>
                <a:t>State Fire and Rescue Service</a:t>
              </a:r>
              <a:endParaRPr lang="en-US" sz="1100" kern="100" dirty="0">
                <a:effectLst/>
                <a:latin typeface="Aptos" panose="020B0004020202020204" pitchFamily="34" charset="0"/>
                <a:ea typeface="Aptos" panose="020B0004020202020204" pitchFamily="34" charset="0"/>
                <a:cs typeface="Times New Roman" panose="02020603050405020304" pitchFamily="18" charset="0"/>
              </a:endParaRPr>
            </a:p>
          </p:txBody>
        </p:sp>
      </p:grpSp>
    </p:spTree>
    <p:extLst>
      <p:ext uri="{BB962C8B-B14F-4D97-AF65-F5344CB8AC3E}">
        <p14:creationId xmlns:p14="http://schemas.microsoft.com/office/powerpoint/2010/main" val="1373554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B68EC639-039F-DB4E-37B0-99BED0A5766C}"/>
              </a:ext>
            </a:extLst>
          </p:cNvPr>
          <p:cNvGraphicFramePr>
            <a:graphicFrameLocks noChangeAspect="1"/>
          </p:cNvGraphicFramePr>
          <p:nvPr>
            <p:custDataLst>
              <p:tags r:id="rId1"/>
            </p:custDataLst>
            <p:extLst>
              <p:ext uri="{D42A27DB-BD31-4B8C-83A1-F6EECF244321}">
                <p14:modId xmlns:p14="http://schemas.microsoft.com/office/powerpoint/2010/main" val="563573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22" name="think-cell data - do not delete" hidden="1">
                        <a:extLst>
                          <a:ext uri="{FF2B5EF4-FFF2-40B4-BE49-F238E27FC236}">
                            <a16:creationId xmlns:a16="http://schemas.microsoft.com/office/drawing/2014/main" id="{B68EC639-039F-DB4E-37B0-99BED0A576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442912" y="1819275"/>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600" b="1"/>
              <a:t>Torrential and persistent rain, large hail:</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9" name="Google Shape;1001;p85">
            <a:extLst>
              <a:ext uri="{FF2B5EF4-FFF2-40B4-BE49-F238E27FC236}">
                <a16:creationId xmlns:a16="http://schemas.microsoft.com/office/drawing/2014/main" id="{60395BC7-8D15-A171-C2BB-1060F2641A92}"/>
              </a:ext>
            </a:extLst>
          </p:cNvPr>
          <p:cNvSpPr/>
          <p:nvPr/>
        </p:nvSpPr>
        <p:spPr>
          <a:xfrm>
            <a:off x="11280725" y="192727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6825"/>
            <a:ext cx="10641434"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Listen to the warnings from meteorologists, keep an eye on the situation.</a:t>
            </a:r>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2" y="3219222"/>
            <a:ext cx="10620000"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2" y="432001"/>
            <a:ext cx="11306175" cy="1387274"/>
          </a:xfrm>
        </p:spPr>
        <p:txBody>
          <a:bodyPr vert="horz" rtlCol="0"/>
          <a:lstStyle/>
          <a:p>
            <a:pPr rtl="0"/>
            <a:r>
              <a:rPr lang="en-gb"/>
              <a:t>Torrential rain, persistent rain and hail</a:t>
            </a:r>
            <a:br>
              <a:rPr lang="en-GB"/>
            </a:br>
            <a:r>
              <a:rPr lang="en-gb">
                <a:solidFill>
                  <a:srgbClr val="A8192D"/>
                </a:solidFill>
              </a:rPr>
              <a:t>How to proceed?</a:t>
            </a: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3974436"/>
            <a:ext cx="1062000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4731295"/>
            <a:ext cx="1062000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7653" y="5487347"/>
            <a:ext cx="1062000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0" name="Rectangle 39">
            <a:extLst>
              <a:ext uri="{FF2B5EF4-FFF2-40B4-BE49-F238E27FC236}">
                <a16:creationId xmlns:a16="http://schemas.microsoft.com/office/drawing/2014/main" id="{0397F1B3-1DAC-781B-5BE5-08FA024DC19C}"/>
              </a:ext>
            </a:extLst>
          </p:cNvPr>
          <p:cNvSpPr/>
          <p:nvPr/>
        </p:nvSpPr>
        <p:spPr>
          <a:xfrm>
            <a:off x="1107653" y="3289619"/>
            <a:ext cx="1064143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Follow the instructions and recommendations of the services, authorities and agencie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047285"/>
            <a:ext cx="1064143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Stay indoors if possible.</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4804144"/>
            <a:ext cx="1064143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If you are outdoors, find somewhere to shelter (in a building).</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2" y="5560198"/>
            <a:ext cx="10619999"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Avoid driving mechanised and non-mechanised vehicles, or pull over in heavy rain, or seek shelter with transport in case of hail.</a:t>
            </a:r>
          </a:p>
        </p:txBody>
      </p:sp>
      <p:grpSp>
        <p:nvGrpSpPr>
          <p:cNvPr id="38" name="Group 37">
            <a:extLst>
              <a:ext uri="{FF2B5EF4-FFF2-40B4-BE49-F238E27FC236}">
                <a16:creationId xmlns:a16="http://schemas.microsoft.com/office/drawing/2014/main" id="{219BBEA8-5E3D-C2C1-202B-E065631AC45E}"/>
              </a:ext>
            </a:extLst>
          </p:cNvPr>
          <p:cNvGrpSpPr/>
          <p:nvPr/>
        </p:nvGrpSpPr>
        <p:grpSpPr>
          <a:xfrm>
            <a:off x="442912" y="2536825"/>
            <a:ext cx="576263" cy="3635373"/>
            <a:chOff x="442912" y="2536825"/>
            <a:chExt cx="576263" cy="3635373"/>
          </a:xfrm>
        </p:grpSpPr>
        <p:sp>
          <p:nvSpPr>
            <p:cNvPr id="57" name="Rectangle 56">
              <a:extLst>
                <a:ext uri="{FF2B5EF4-FFF2-40B4-BE49-F238E27FC236}">
                  <a16:creationId xmlns:a16="http://schemas.microsoft.com/office/drawing/2014/main" id="{A073C5EE-5299-ADD0-94D7-3170276FA166}"/>
                </a:ext>
              </a:extLst>
            </p:cNvPr>
            <p:cNvSpPr/>
            <p:nvPr/>
          </p:nvSpPr>
          <p:spPr>
            <a:xfrm>
              <a:off x="442912" y="2536825"/>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5" y="270643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2" y="3292039"/>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5" y="346165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2" y="40488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5" y="42185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2" y="480495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5" y="49745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2912"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5"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0</a:t>
            </a:fld>
            <a:endParaRPr lang="en-GB"/>
          </a:p>
        </p:txBody>
      </p:sp>
      <p:grpSp>
        <p:nvGrpSpPr>
          <p:cNvPr id="9" name="Group 8">
            <a:extLst>
              <a:ext uri="{FF2B5EF4-FFF2-40B4-BE49-F238E27FC236}">
                <a16:creationId xmlns:a16="http://schemas.microsoft.com/office/drawing/2014/main" id="{03E2E82C-D34E-A8CB-B44F-64EFEFB4F96A}"/>
              </a:ext>
            </a:extLst>
          </p:cNvPr>
          <p:cNvGrpSpPr/>
          <p:nvPr/>
        </p:nvGrpSpPr>
        <p:grpSpPr>
          <a:xfrm>
            <a:off x="9190780" y="159786"/>
            <a:ext cx="2558308" cy="217488"/>
            <a:chOff x="9190780" y="159786"/>
            <a:chExt cx="2558308" cy="217488"/>
          </a:xfrm>
        </p:grpSpPr>
        <p:sp>
          <p:nvSpPr>
            <p:cNvPr id="10" name="Rectangle 9">
              <a:extLst>
                <a:ext uri="{FF2B5EF4-FFF2-40B4-BE49-F238E27FC236}">
                  <a16:creationId xmlns:a16="http://schemas.microsoft.com/office/drawing/2014/main" id="{AF5D28E6-B66B-85F7-8B71-6921CEC0E8B1}"/>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C3CA6108-452D-373A-94AB-133BD2EE246A}"/>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01CD7EEA-DE59-0783-535D-DCB1FE28F935}"/>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721855DF-F64C-ABA0-1244-883DC5BF61F8}"/>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214180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A8E461D-4824-21A5-8141-DE3D04012D10}"/>
              </a:ext>
            </a:extLst>
          </p:cNvPr>
          <p:cNvGraphicFramePr>
            <a:graphicFrameLocks noChangeAspect="1"/>
          </p:cNvGraphicFramePr>
          <p:nvPr>
            <p:custDataLst>
              <p:tags r:id="rId1"/>
            </p:custDataLst>
            <p:extLst>
              <p:ext uri="{D42A27DB-BD31-4B8C-83A1-F6EECF244321}">
                <p14:modId xmlns:p14="http://schemas.microsoft.com/office/powerpoint/2010/main" val="3431506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6" name="think-cell data - do not delete" hidden="1">
                        <a:extLst>
                          <a:ext uri="{FF2B5EF4-FFF2-40B4-BE49-F238E27FC236}">
                            <a16:creationId xmlns:a16="http://schemas.microsoft.com/office/drawing/2014/main" id="{8A8E461D-4824-21A5-8141-DE3D04012D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440299" y="1819275"/>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What if a thunderstorm has started and you are in a building?</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1800"/>
            <a:ext cx="11306175" cy="1387475"/>
          </a:xfrm>
        </p:spPr>
        <p:txBody>
          <a:bodyPr vert="horz" rtlCol="0"/>
          <a:lstStyle/>
          <a:p>
            <a:pPr rtl="0"/>
            <a:r>
              <a:rPr lang="en-gb"/>
              <a:t>Thunderstorms and strong winds</a:t>
            </a:r>
            <a:br>
              <a:rPr lang="lv-LV"/>
            </a:br>
            <a:r>
              <a:rPr lang="en-gb">
                <a:solidFill>
                  <a:srgbClr val="A8192D"/>
                </a:solidFill>
              </a:rPr>
              <a:t>How to proceed? (1/4)</a:t>
            </a: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1</a:t>
            </a:fld>
            <a:endParaRPr lang="en-GB"/>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3" name="Rectangle 32">
            <a:extLst>
              <a:ext uri="{FF2B5EF4-FFF2-40B4-BE49-F238E27FC236}">
                <a16:creationId xmlns:a16="http://schemas.microsoft.com/office/drawing/2014/main" id="{A9EA678B-1C92-D1EC-5EF2-97D0A4907E68}"/>
              </a:ext>
            </a:extLst>
          </p:cNvPr>
          <p:cNvSpPr/>
          <p:nvPr/>
        </p:nvSpPr>
        <p:spPr>
          <a:xfrm>
            <a:off x="1100138" y="5632200"/>
            <a:ext cx="1071747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If there is a fallen tree, downed wires, accident or other incident, call 1 1 2.</a:t>
            </a:r>
          </a:p>
        </p:txBody>
      </p:sp>
      <p:grpSp>
        <p:nvGrpSpPr>
          <p:cNvPr id="124" name="Group 123">
            <a:extLst>
              <a:ext uri="{FF2B5EF4-FFF2-40B4-BE49-F238E27FC236}">
                <a16:creationId xmlns:a16="http://schemas.microsoft.com/office/drawing/2014/main" id="{22B6A670-1167-6234-3E64-FBCDAC877C22}"/>
              </a:ext>
            </a:extLst>
          </p:cNvPr>
          <p:cNvGrpSpPr/>
          <p:nvPr/>
        </p:nvGrpSpPr>
        <p:grpSpPr>
          <a:xfrm>
            <a:off x="442913" y="5632200"/>
            <a:ext cx="576263" cy="540000"/>
            <a:chOff x="5073880" y="6285317"/>
            <a:chExt cx="576263" cy="540000"/>
          </a:xfrm>
        </p:grpSpPr>
        <p:sp>
          <p:nvSpPr>
            <p:cNvPr id="37" name="Rectangle 36">
              <a:extLst>
                <a:ext uri="{FF2B5EF4-FFF2-40B4-BE49-F238E27FC236}">
                  <a16:creationId xmlns:a16="http://schemas.microsoft.com/office/drawing/2014/main" id="{7795EDCD-A1E3-81BC-D6E4-B8FD957AD217}"/>
                </a:ext>
              </a:extLst>
            </p:cNvPr>
            <p:cNvSpPr/>
            <p:nvPr/>
          </p:nvSpPr>
          <p:spPr>
            <a:xfrm>
              <a:off x="5073880" y="6285317"/>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8" name="L-Shape 37">
              <a:extLst>
                <a:ext uri="{FF2B5EF4-FFF2-40B4-BE49-F238E27FC236}">
                  <a16:creationId xmlns:a16="http://schemas.microsoft.com/office/drawing/2014/main" id="{B7F4C205-C186-DA71-F54C-8E2254F0C2E9}"/>
                </a:ext>
              </a:extLst>
            </p:cNvPr>
            <p:cNvSpPr/>
            <p:nvPr/>
          </p:nvSpPr>
          <p:spPr>
            <a:xfrm rot="13500000">
              <a:off x="5190274" y="6418929"/>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71" name="Straight Connector 70">
            <a:extLst>
              <a:ext uri="{FF2B5EF4-FFF2-40B4-BE49-F238E27FC236}">
                <a16:creationId xmlns:a16="http://schemas.microsoft.com/office/drawing/2014/main" id="{2D44A2E0-D428-5D56-66C4-E6041127AEF8}"/>
              </a:ext>
            </a:extLst>
          </p:cNvPr>
          <p:cNvCxnSpPr>
            <a:cxnSpLocks/>
          </p:cNvCxnSpPr>
          <p:nvPr/>
        </p:nvCxnSpPr>
        <p:spPr>
          <a:xfrm>
            <a:off x="1125966" y="3115330"/>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4" name="Straight Connector 73">
            <a:extLst>
              <a:ext uri="{FF2B5EF4-FFF2-40B4-BE49-F238E27FC236}">
                <a16:creationId xmlns:a16="http://schemas.microsoft.com/office/drawing/2014/main" id="{A4A77D43-393C-B7CA-2B9C-8F1B47DAF62D}"/>
              </a:ext>
            </a:extLst>
          </p:cNvPr>
          <p:cNvCxnSpPr>
            <a:cxnSpLocks/>
          </p:cNvCxnSpPr>
          <p:nvPr/>
        </p:nvCxnSpPr>
        <p:spPr>
          <a:xfrm>
            <a:off x="1135963" y="3732796"/>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5" name="Rectangle 74">
            <a:extLst>
              <a:ext uri="{FF2B5EF4-FFF2-40B4-BE49-F238E27FC236}">
                <a16:creationId xmlns:a16="http://schemas.microsoft.com/office/drawing/2014/main" id="{AB24C0B9-0E0F-E3B2-1237-5CBEE719A1F1}"/>
              </a:ext>
            </a:extLst>
          </p:cNvPr>
          <p:cNvSpPr/>
          <p:nvPr/>
        </p:nvSpPr>
        <p:spPr>
          <a:xfrm>
            <a:off x="1100138" y="2538413"/>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dirty="0">
                <a:solidFill>
                  <a:srgbClr val="212529"/>
                </a:solidFill>
              </a:rPr>
              <a:t>Stay in the building and keep others from </a:t>
            </a:r>
            <a:r>
              <a:rPr lang="lv-LV" sz="1400" dirty="0" err="1">
                <a:solidFill>
                  <a:srgbClr val="212529"/>
                </a:solidFill>
              </a:rPr>
              <a:t>going</a:t>
            </a:r>
            <a:r>
              <a:rPr lang="lv-LV" sz="1400" dirty="0">
                <a:solidFill>
                  <a:srgbClr val="212529"/>
                </a:solidFill>
              </a:rPr>
              <a:t> </a:t>
            </a:r>
            <a:r>
              <a:rPr lang="lv-LV" sz="1400" dirty="0" err="1">
                <a:solidFill>
                  <a:srgbClr val="212529"/>
                </a:solidFill>
              </a:rPr>
              <a:t>outside</a:t>
            </a:r>
            <a:r>
              <a:rPr lang="en-gb" sz="1400" dirty="0">
                <a:solidFill>
                  <a:srgbClr val="212529"/>
                </a:solidFill>
              </a:rPr>
              <a:t>.</a:t>
            </a:r>
            <a:endParaRPr lang="lv-LV" sz="1400" b="0" i="0" dirty="0">
              <a:solidFill>
                <a:srgbClr val="212529"/>
              </a:solidFill>
              <a:effectLst/>
            </a:endParaRPr>
          </a:p>
        </p:txBody>
      </p:sp>
      <p:sp>
        <p:nvSpPr>
          <p:cNvPr id="76" name="Rectangle 75">
            <a:extLst>
              <a:ext uri="{FF2B5EF4-FFF2-40B4-BE49-F238E27FC236}">
                <a16:creationId xmlns:a16="http://schemas.microsoft.com/office/drawing/2014/main" id="{8793B610-11BB-3DD5-343E-D5A1842E54DF}"/>
              </a:ext>
            </a:extLst>
          </p:cNvPr>
          <p:cNvSpPr/>
          <p:nvPr/>
        </p:nvSpPr>
        <p:spPr>
          <a:xfrm>
            <a:off x="1135963" y="3156796"/>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Avoid contact with electrical appliances, wires and metal objects.</a:t>
            </a:r>
          </a:p>
        </p:txBody>
      </p:sp>
      <p:sp>
        <p:nvSpPr>
          <p:cNvPr id="77" name="Rectangle 76">
            <a:extLst>
              <a:ext uri="{FF2B5EF4-FFF2-40B4-BE49-F238E27FC236}">
                <a16:creationId xmlns:a16="http://schemas.microsoft.com/office/drawing/2014/main" id="{7507519A-1DE4-B47D-BFBC-5EC74A788B23}"/>
              </a:ext>
            </a:extLst>
          </p:cNvPr>
          <p:cNvSpPr/>
          <p:nvPr/>
        </p:nvSpPr>
        <p:spPr>
          <a:xfrm>
            <a:off x="1100138" y="3775929"/>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Unplug electrical appliances.</a:t>
            </a:r>
          </a:p>
        </p:txBody>
      </p:sp>
      <p:grpSp>
        <p:nvGrpSpPr>
          <p:cNvPr id="129" name="Group 128">
            <a:extLst>
              <a:ext uri="{FF2B5EF4-FFF2-40B4-BE49-F238E27FC236}">
                <a16:creationId xmlns:a16="http://schemas.microsoft.com/office/drawing/2014/main" id="{3A1FB8DB-BEBA-9531-B60F-20C3F132CF2F}"/>
              </a:ext>
            </a:extLst>
          </p:cNvPr>
          <p:cNvGrpSpPr/>
          <p:nvPr/>
        </p:nvGrpSpPr>
        <p:grpSpPr>
          <a:xfrm>
            <a:off x="442913" y="2536825"/>
            <a:ext cx="576263" cy="540000"/>
            <a:chOff x="5080210" y="2536825"/>
            <a:chExt cx="576263" cy="540000"/>
          </a:xfrm>
        </p:grpSpPr>
        <p:sp>
          <p:nvSpPr>
            <p:cNvPr id="78" name="Rectangle 77">
              <a:extLst>
                <a:ext uri="{FF2B5EF4-FFF2-40B4-BE49-F238E27FC236}">
                  <a16:creationId xmlns:a16="http://schemas.microsoft.com/office/drawing/2014/main" id="{C5C3D0C6-9AE4-2D85-F716-35A1E082CF03}"/>
                </a:ext>
              </a:extLst>
            </p:cNvPr>
            <p:cNvSpPr/>
            <p:nvPr/>
          </p:nvSpPr>
          <p:spPr>
            <a:xfrm>
              <a:off x="5080210" y="2536825"/>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1" name="L-Shape 80">
              <a:extLst>
                <a:ext uri="{FF2B5EF4-FFF2-40B4-BE49-F238E27FC236}">
                  <a16:creationId xmlns:a16="http://schemas.microsoft.com/office/drawing/2014/main" id="{194ED9A6-B5C3-ED3F-4C21-CA96CC3CE39E}"/>
                </a:ext>
              </a:extLst>
            </p:cNvPr>
            <p:cNvSpPr/>
            <p:nvPr/>
          </p:nvSpPr>
          <p:spPr>
            <a:xfrm rot="13500000">
              <a:off x="5196604" y="2670437"/>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28" name="Group 127">
            <a:extLst>
              <a:ext uri="{FF2B5EF4-FFF2-40B4-BE49-F238E27FC236}">
                <a16:creationId xmlns:a16="http://schemas.microsoft.com/office/drawing/2014/main" id="{7EA9234F-4081-9D78-360F-4BB6F2EDDCBE}"/>
              </a:ext>
            </a:extLst>
          </p:cNvPr>
          <p:cNvGrpSpPr/>
          <p:nvPr/>
        </p:nvGrpSpPr>
        <p:grpSpPr>
          <a:xfrm>
            <a:off x="442913" y="3155900"/>
            <a:ext cx="576263" cy="540000"/>
            <a:chOff x="5080210" y="3294044"/>
            <a:chExt cx="576263" cy="540000"/>
          </a:xfrm>
        </p:grpSpPr>
        <p:sp>
          <p:nvSpPr>
            <p:cNvPr id="82" name="Rectangle 81">
              <a:extLst>
                <a:ext uri="{FF2B5EF4-FFF2-40B4-BE49-F238E27FC236}">
                  <a16:creationId xmlns:a16="http://schemas.microsoft.com/office/drawing/2014/main" id="{48434C7A-DD1B-41BC-9A26-100219A14BCB}"/>
                </a:ext>
              </a:extLst>
            </p:cNvPr>
            <p:cNvSpPr/>
            <p:nvPr/>
          </p:nvSpPr>
          <p:spPr>
            <a:xfrm>
              <a:off x="5080210" y="329404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5" name="L-Shape 84">
              <a:extLst>
                <a:ext uri="{FF2B5EF4-FFF2-40B4-BE49-F238E27FC236}">
                  <a16:creationId xmlns:a16="http://schemas.microsoft.com/office/drawing/2014/main" id="{C814D90B-57A8-75C9-D698-489E6EE36C26}"/>
                </a:ext>
              </a:extLst>
            </p:cNvPr>
            <p:cNvSpPr/>
            <p:nvPr/>
          </p:nvSpPr>
          <p:spPr>
            <a:xfrm rot="13500000">
              <a:off x="5196604" y="342765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27" name="Group 126">
            <a:extLst>
              <a:ext uri="{FF2B5EF4-FFF2-40B4-BE49-F238E27FC236}">
                <a16:creationId xmlns:a16="http://schemas.microsoft.com/office/drawing/2014/main" id="{A9187C67-83D0-9053-644E-EA9705E689B3}"/>
              </a:ext>
            </a:extLst>
          </p:cNvPr>
          <p:cNvGrpSpPr/>
          <p:nvPr/>
        </p:nvGrpSpPr>
        <p:grpSpPr>
          <a:xfrm>
            <a:off x="442913" y="3774975"/>
            <a:ext cx="576263" cy="540000"/>
            <a:chOff x="5080210" y="4049428"/>
            <a:chExt cx="576263" cy="540000"/>
          </a:xfrm>
        </p:grpSpPr>
        <p:sp>
          <p:nvSpPr>
            <p:cNvPr id="86" name="Rectangle 85">
              <a:extLst>
                <a:ext uri="{FF2B5EF4-FFF2-40B4-BE49-F238E27FC236}">
                  <a16:creationId xmlns:a16="http://schemas.microsoft.com/office/drawing/2014/main" id="{9D762416-B8CD-9A4F-18FB-8F0F5E76000A}"/>
                </a:ext>
              </a:extLst>
            </p:cNvPr>
            <p:cNvSpPr/>
            <p:nvPr/>
          </p:nvSpPr>
          <p:spPr>
            <a:xfrm>
              <a:off x="5080210" y="404942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7" name="L-Shape 86">
              <a:extLst>
                <a:ext uri="{FF2B5EF4-FFF2-40B4-BE49-F238E27FC236}">
                  <a16:creationId xmlns:a16="http://schemas.microsoft.com/office/drawing/2014/main" id="{8C6339FB-5EFB-D117-4D8C-E3D762D8DA58}"/>
                </a:ext>
              </a:extLst>
            </p:cNvPr>
            <p:cNvSpPr/>
            <p:nvPr/>
          </p:nvSpPr>
          <p:spPr>
            <a:xfrm rot="13500000">
              <a:off x="5196604" y="418304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88" name="Straight Connector 87">
            <a:extLst>
              <a:ext uri="{FF2B5EF4-FFF2-40B4-BE49-F238E27FC236}">
                <a16:creationId xmlns:a16="http://schemas.microsoft.com/office/drawing/2014/main" id="{8CBAC38D-E058-DAFB-20AD-BB4ADE12F0C6}"/>
              </a:ext>
            </a:extLst>
          </p:cNvPr>
          <p:cNvCxnSpPr>
            <a:cxnSpLocks/>
          </p:cNvCxnSpPr>
          <p:nvPr/>
        </p:nvCxnSpPr>
        <p:spPr>
          <a:xfrm>
            <a:off x="1135963" y="4351554"/>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8" name="Straight Connector 97">
            <a:extLst>
              <a:ext uri="{FF2B5EF4-FFF2-40B4-BE49-F238E27FC236}">
                <a16:creationId xmlns:a16="http://schemas.microsoft.com/office/drawing/2014/main" id="{4EA10CA9-6EBD-A2F6-FBBD-551A02CF4701}"/>
              </a:ext>
            </a:extLst>
          </p:cNvPr>
          <p:cNvCxnSpPr>
            <a:cxnSpLocks/>
          </p:cNvCxnSpPr>
          <p:nvPr/>
        </p:nvCxnSpPr>
        <p:spPr>
          <a:xfrm>
            <a:off x="1125966" y="5587121"/>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9" name="Rectangle 98">
            <a:extLst>
              <a:ext uri="{FF2B5EF4-FFF2-40B4-BE49-F238E27FC236}">
                <a16:creationId xmlns:a16="http://schemas.microsoft.com/office/drawing/2014/main" id="{805B5EBD-6AAC-3E2E-7379-47BAFD8ABB47}"/>
              </a:ext>
            </a:extLst>
          </p:cNvPr>
          <p:cNvSpPr/>
          <p:nvPr/>
        </p:nvSpPr>
        <p:spPr>
          <a:xfrm>
            <a:off x="1100138" y="4394687"/>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tx1"/>
                </a:solidFill>
              </a:rPr>
              <a:t>Do not wash your hands, dishes or laundry. Don't shower. Do not heat the stove or oven.</a:t>
            </a:r>
            <a:endParaRPr lang="lv-LV" sz="1400" b="0" i="0">
              <a:solidFill>
                <a:schemeClr val="tx1"/>
              </a:solidFill>
              <a:effectLst/>
            </a:endParaRPr>
          </a:p>
        </p:txBody>
      </p:sp>
      <p:sp>
        <p:nvSpPr>
          <p:cNvPr id="100" name="Rectangle 99">
            <a:extLst>
              <a:ext uri="{FF2B5EF4-FFF2-40B4-BE49-F238E27FC236}">
                <a16:creationId xmlns:a16="http://schemas.microsoft.com/office/drawing/2014/main" id="{8413921A-9F50-D135-DB2F-4735F1AD43FB}"/>
              </a:ext>
            </a:extLst>
          </p:cNvPr>
          <p:cNvSpPr/>
          <p:nvPr/>
        </p:nvSpPr>
        <p:spPr>
          <a:xfrm>
            <a:off x="1100138" y="5013445"/>
            <a:ext cx="1064582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rgbClr val="212529"/>
                </a:solidFill>
              </a:rPr>
              <a:t>Do not go near windows or doors, or stay on verandas, balconies or loggias.</a:t>
            </a:r>
            <a:endParaRPr lang="lv-LV" sz="1400" b="0" i="0">
              <a:solidFill>
                <a:srgbClr val="212529"/>
              </a:solidFill>
              <a:effectLst/>
            </a:endParaRPr>
          </a:p>
        </p:txBody>
      </p:sp>
      <p:grpSp>
        <p:nvGrpSpPr>
          <p:cNvPr id="126" name="Group 125">
            <a:extLst>
              <a:ext uri="{FF2B5EF4-FFF2-40B4-BE49-F238E27FC236}">
                <a16:creationId xmlns:a16="http://schemas.microsoft.com/office/drawing/2014/main" id="{25B24E43-5F6C-2205-6F27-C9A8304F80E4}"/>
              </a:ext>
            </a:extLst>
          </p:cNvPr>
          <p:cNvGrpSpPr/>
          <p:nvPr/>
        </p:nvGrpSpPr>
        <p:grpSpPr>
          <a:xfrm>
            <a:off x="442913" y="4394050"/>
            <a:ext cx="576263" cy="540000"/>
            <a:chOff x="5080632" y="4804812"/>
            <a:chExt cx="576263" cy="540000"/>
          </a:xfrm>
        </p:grpSpPr>
        <p:sp>
          <p:nvSpPr>
            <p:cNvPr id="101" name="Rectangle 100">
              <a:extLst>
                <a:ext uri="{FF2B5EF4-FFF2-40B4-BE49-F238E27FC236}">
                  <a16:creationId xmlns:a16="http://schemas.microsoft.com/office/drawing/2014/main" id="{6EEB4BCC-C79A-22FA-6284-FF283E0F0395}"/>
                </a:ext>
              </a:extLst>
            </p:cNvPr>
            <p:cNvSpPr/>
            <p:nvPr/>
          </p:nvSpPr>
          <p:spPr>
            <a:xfrm>
              <a:off x="5080632" y="4804812"/>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02" name="L-Shape 101">
              <a:extLst>
                <a:ext uri="{FF2B5EF4-FFF2-40B4-BE49-F238E27FC236}">
                  <a16:creationId xmlns:a16="http://schemas.microsoft.com/office/drawing/2014/main" id="{A2DB71BE-A99E-9EF8-8B88-2D025550C73F}"/>
                </a:ext>
              </a:extLst>
            </p:cNvPr>
            <p:cNvSpPr/>
            <p:nvPr/>
          </p:nvSpPr>
          <p:spPr>
            <a:xfrm rot="13500000">
              <a:off x="5197026" y="4938424"/>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25" name="Group 124">
            <a:extLst>
              <a:ext uri="{FF2B5EF4-FFF2-40B4-BE49-F238E27FC236}">
                <a16:creationId xmlns:a16="http://schemas.microsoft.com/office/drawing/2014/main" id="{4387D8E0-B165-2634-3E99-8098AC5D0AAE}"/>
              </a:ext>
            </a:extLst>
          </p:cNvPr>
          <p:cNvGrpSpPr/>
          <p:nvPr/>
        </p:nvGrpSpPr>
        <p:grpSpPr>
          <a:xfrm>
            <a:off x="442913" y="5013125"/>
            <a:ext cx="576263" cy="540000"/>
            <a:chOff x="5080632" y="5217298"/>
            <a:chExt cx="576263" cy="540000"/>
          </a:xfrm>
        </p:grpSpPr>
        <p:sp>
          <p:nvSpPr>
            <p:cNvPr id="103" name="Rectangle 102">
              <a:extLst>
                <a:ext uri="{FF2B5EF4-FFF2-40B4-BE49-F238E27FC236}">
                  <a16:creationId xmlns:a16="http://schemas.microsoft.com/office/drawing/2014/main" id="{5DEC1747-94D0-C2FE-BE82-692FD20415CA}"/>
                </a:ext>
              </a:extLst>
            </p:cNvPr>
            <p:cNvSpPr/>
            <p:nvPr/>
          </p:nvSpPr>
          <p:spPr>
            <a:xfrm>
              <a:off x="5080632" y="521729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04" name="L-Shape 103">
              <a:extLst>
                <a:ext uri="{FF2B5EF4-FFF2-40B4-BE49-F238E27FC236}">
                  <a16:creationId xmlns:a16="http://schemas.microsoft.com/office/drawing/2014/main" id="{D2925E93-E683-0A91-B81F-B1C979776110}"/>
                </a:ext>
              </a:extLst>
            </p:cNvPr>
            <p:cNvSpPr/>
            <p:nvPr/>
          </p:nvSpPr>
          <p:spPr>
            <a:xfrm rot="13500000">
              <a:off x="5197026" y="535091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130" name="Straight Connector 129">
            <a:extLst>
              <a:ext uri="{FF2B5EF4-FFF2-40B4-BE49-F238E27FC236}">
                <a16:creationId xmlns:a16="http://schemas.microsoft.com/office/drawing/2014/main" id="{5517A59E-0478-0F8E-5578-D52E18B438AC}"/>
              </a:ext>
            </a:extLst>
          </p:cNvPr>
          <p:cNvCxnSpPr>
            <a:cxnSpLocks/>
          </p:cNvCxnSpPr>
          <p:nvPr/>
        </p:nvCxnSpPr>
        <p:spPr>
          <a:xfrm>
            <a:off x="1132149" y="4972166"/>
            <a:ext cx="10620000" cy="380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3" name="Group 2">
            <a:extLst>
              <a:ext uri="{FF2B5EF4-FFF2-40B4-BE49-F238E27FC236}">
                <a16:creationId xmlns:a16="http://schemas.microsoft.com/office/drawing/2014/main" id="{14A0E909-E536-762D-3B58-6EF6CEE010B3}"/>
              </a:ext>
            </a:extLst>
          </p:cNvPr>
          <p:cNvGrpSpPr/>
          <p:nvPr/>
        </p:nvGrpSpPr>
        <p:grpSpPr>
          <a:xfrm>
            <a:off x="9190780" y="159786"/>
            <a:ext cx="2558308" cy="217488"/>
            <a:chOff x="9190780" y="159786"/>
            <a:chExt cx="2558308" cy="217488"/>
          </a:xfrm>
        </p:grpSpPr>
        <p:sp>
          <p:nvSpPr>
            <p:cNvPr id="4" name="Rectangle 3">
              <a:extLst>
                <a:ext uri="{FF2B5EF4-FFF2-40B4-BE49-F238E27FC236}">
                  <a16:creationId xmlns:a16="http://schemas.microsoft.com/office/drawing/2014/main" id="{E577B63C-B4F9-33F3-F4C6-5F6043693D0A}"/>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DCFCF3A1-432D-D43F-2498-D29DF8ADCD58}"/>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E75A1746-9CBC-5A44-D7C7-ABFE1DB42295}"/>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E2468D95-8149-8C34-C470-79E1DF166C99}"/>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791248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hink-cell data - do not delete" hidden="1">
            <a:extLst>
              <a:ext uri="{FF2B5EF4-FFF2-40B4-BE49-F238E27FC236}">
                <a16:creationId xmlns:a16="http://schemas.microsoft.com/office/drawing/2014/main" id="{47D5D9C8-026E-DCC5-5397-BC77A3E61172}"/>
              </a:ext>
            </a:extLst>
          </p:cNvPr>
          <p:cNvGraphicFramePr>
            <a:graphicFrameLocks noChangeAspect="1"/>
          </p:cNvGraphicFramePr>
          <p:nvPr>
            <p:custDataLst>
              <p:tags r:id="rId1"/>
            </p:custDataLst>
            <p:extLst>
              <p:ext uri="{D42A27DB-BD31-4B8C-83A1-F6EECF244321}">
                <p14:modId xmlns:p14="http://schemas.microsoft.com/office/powerpoint/2010/main" val="165573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54" name="think-cell data - do not delete" hidden="1">
                        <a:extLst>
                          <a:ext uri="{FF2B5EF4-FFF2-40B4-BE49-F238E27FC236}">
                            <a16:creationId xmlns:a16="http://schemas.microsoft.com/office/drawing/2014/main" id="{47D5D9C8-026E-DCC5-5397-BC77A3E611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E384B44-88CC-8F76-E9AF-DBDBDD24EECE}"/>
              </a:ext>
            </a:extLst>
          </p:cNvPr>
          <p:cNvSpPr/>
          <p:nvPr/>
        </p:nvSpPr>
        <p:spPr>
          <a:xfrm>
            <a:off x="442913" y="1819275"/>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What if a thunderstorm has started and you are outside the building?</a:t>
            </a:r>
          </a:p>
        </p:txBody>
      </p:sp>
      <p:grpSp>
        <p:nvGrpSpPr>
          <p:cNvPr id="10" name="Group 9">
            <a:extLst>
              <a:ext uri="{FF2B5EF4-FFF2-40B4-BE49-F238E27FC236}">
                <a16:creationId xmlns:a16="http://schemas.microsoft.com/office/drawing/2014/main" id="{BB3D6B6A-9786-18EF-DB52-A410F32A7AA7}"/>
              </a:ext>
            </a:extLst>
          </p:cNvPr>
          <p:cNvGrpSpPr/>
          <p:nvPr/>
        </p:nvGrpSpPr>
        <p:grpSpPr>
          <a:xfrm>
            <a:off x="11102200" y="1819275"/>
            <a:ext cx="646888" cy="576000"/>
            <a:chOff x="4061518" y="1819275"/>
            <a:chExt cx="646888" cy="576000"/>
          </a:xfrm>
        </p:grpSpPr>
        <p:sp>
          <p:nvSpPr>
            <p:cNvPr id="61" name="Rectangle 60">
              <a:extLst>
                <a:ext uri="{FF2B5EF4-FFF2-40B4-BE49-F238E27FC236}">
                  <a16:creationId xmlns:a16="http://schemas.microsoft.com/office/drawing/2014/main" id="{36EC9590-1EE1-4A70-E132-4F25FB2A166A}"/>
                </a:ext>
              </a:extLst>
            </p:cNvPr>
            <p:cNvSpPr/>
            <p:nvPr/>
          </p:nvSpPr>
          <p:spPr>
            <a:xfrm>
              <a:off x="4132406"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113" name="Google Shape;1053;p85">
              <a:extLst>
                <a:ext uri="{FF2B5EF4-FFF2-40B4-BE49-F238E27FC236}">
                  <a16:creationId xmlns:a16="http://schemas.microsoft.com/office/drawing/2014/main" id="{BD0AAD21-B620-BE2C-26F6-12331A646B63}"/>
                </a:ext>
              </a:extLst>
            </p:cNvPr>
            <p:cNvGrpSpPr/>
            <p:nvPr/>
          </p:nvGrpSpPr>
          <p:grpSpPr>
            <a:xfrm>
              <a:off x="4240060" y="1927224"/>
              <a:ext cx="360363" cy="360362"/>
              <a:chOff x="3378787" y="4553878"/>
              <a:chExt cx="463807" cy="463807"/>
            </a:xfrm>
            <a:solidFill>
              <a:schemeClr val="bg1"/>
            </a:solidFill>
          </p:grpSpPr>
          <p:sp>
            <p:nvSpPr>
              <p:cNvPr id="114" name="Google Shape;1054;p85">
                <a:extLst>
                  <a:ext uri="{FF2B5EF4-FFF2-40B4-BE49-F238E27FC236}">
                    <a16:creationId xmlns:a16="http://schemas.microsoft.com/office/drawing/2014/main" id="{FE6F4D41-5A3C-3463-2213-7EE0D8B0B971}"/>
                  </a:ext>
                </a:extLst>
              </p:cNvPr>
              <p:cNvSpPr/>
              <p:nvPr/>
            </p:nvSpPr>
            <p:spPr>
              <a:xfrm>
                <a:off x="3475413" y="4677914"/>
                <a:ext cx="269836" cy="71535"/>
              </a:xfrm>
              <a:custGeom>
                <a:avLst/>
                <a:gdLst/>
                <a:ahLst/>
                <a:cxnLst/>
                <a:rect l="l" t="t" r="r" b="b"/>
                <a:pathLst>
                  <a:path w="269836" h="71535" extrusionOk="0">
                    <a:moveTo>
                      <a:pt x="0" y="71536"/>
                    </a:moveTo>
                    <a:lnTo>
                      <a:pt x="235124" y="71536"/>
                    </a:lnTo>
                    <a:cubicBezTo>
                      <a:pt x="254878" y="70943"/>
                      <a:pt x="270412" y="54448"/>
                      <a:pt x="269820" y="34694"/>
                    </a:cubicBezTo>
                    <a:cubicBezTo>
                      <a:pt x="269250" y="15773"/>
                      <a:pt x="254044" y="568"/>
                      <a:pt x="235124" y="0"/>
                    </a:cubicBezTo>
                    <a:lnTo>
                      <a:pt x="224495" y="0"/>
                    </a:lnTo>
                    <a:lnTo>
                      <a:pt x="224495" y="19808"/>
                    </a:lnTo>
                    <a:lnTo>
                      <a:pt x="235124" y="19808"/>
                    </a:lnTo>
                    <a:cubicBezTo>
                      <a:pt x="243940" y="20999"/>
                      <a:pt x="250118" y="29109"/>
                      <a:pt x="248929" y="37924"/>
                    </a:cubicBezTo>
                    <a:cubicBezTo>
                      <a:pt x="247956" y="45107"/>
                      <a:pt x="242307" y="50757"/>
                      <a:pt x="235124" y="51727"/>
                    </a:cubicBezTo>
                    <a:lnTo>
                      <a:pt x="0" y="51727"/>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5" name="Google Shape;1055;p85">
                <a:extLst>
                  <a:ext uri="{FF2B5EF4-FFF2-40B4-BE49-F238E27FC236}">
                    <a16:creationId xmlns:a16="http://schemas.microsoft.com/office/drawing/2014/main" id="{A7E4DFDC-EB01-300B-41DF-F04DD56BB422}"/>
                  </a:ext>
                </a:extLst>
              </p:cNvPr>
              <p:cNvSpPr/>
              <p:nvPr/>
            </p:nvSpPr>
            <p:spPr>
              <a:xfrm>
                <a:off x="3511390" y="4778663"/>
                <a:ext cx="269836" cy="71535"/>
              </a:xfrm>
              <a:custGeom>
                <a:avLst/>
                <a:gdLst/>
                <a:ahLst/>
                <a:cxnLst/>
                <a:rect l="l" t="t" r="r" b="b"/>
                <a:pathLst>
                  <a:path w="269836" h="71535" extrusionOk="0">
                    <a:moveTo>
                      <a:pt x="224528" y="71536"/>
                    </a:moveTo>
                    <a:lnTo>
                      <a:pt x="235124" y="71536"/>
                    </a:lnTo>
                    <a:cubicBezTo>
                      <a:pt x="254878" y="70943"/>
                      <a:pt x="270412" y="54448"/>
                      <a:pt x="269820" y="34694"/>
                    </a:cubicBezTo>
                    <a:cubicBezTo>
                      <a:pt x="269250" y="15773"/>
                      <a:pt x="254044" y="568"/>
                      <a:pt x="235124" y="0"/>
                    </a:cubicBezTo>
                    <a:lnTo>
                      <a:pt x="0" y="0"/>
                    </a:lnTo>
                    <a:lnTo>
                      <a:pt x="0" y="19680"/>
                    </a:lnTo>
                    <a:lnTo>
                      <a:pt x="235124" y="19680"/>
                    </a:lnTo>
                    <a:cubicBezTo>
                      <a:pt x="243930" y="18425"/>
                      <a:pt x="252086" y="24546"/>
                      <a:pt x="253338" y="33351"/>
                    </a:cubicBezTo>
                    <a:cubicBezTo>
                      <a:pt x="254595" y="42157"/>
                      <a:pt x="248472" y="50312"/>
                      <a:pt x="239669" y="51566"/>
                    </a:cubicBezTo>
                    <a:cubicBezTo>
                      <a:pt x="238162" y="51781"/>
                      <a:pt x="236632" y="51781"/>
                      <a:pt x="235124" y="51566"/>
                    </a:cubicBezTo>
                    <a:lnTo>
                      <a:pt x="224528" y="51566"/>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6" name="Google Shape;1056;p85">
                <a:extLst>
                  <a:ext uri="{FF2B5EF4-FFF2-40B4-BE49-F238E27FC236}">
                    <a16:creationId xmlns:a16="http://schemas.microsoft.com/office/drawing/2014/main" id="{5FCD2CDC-B2CB-1B70-EAC8-E83EB9954417}"/>
                  </a:ext>
                </a:extLst>
              </p:cNvPr>
              <p:cNvSpPr/>
              <p:nvPr/>
            </p:nvSpPr>
            <p:spPr>
              <a:xfrm>
                <a:off x="3474737" y="4827298"/>
                <a:ext cx="238786" cy="71535"/>
              </a:xfrm>
              <a:custGeom>
                <a:avLst/>
                <a:gdLst/>
                <a:ahLst/>
                <a:cxnLst/>
                <a:rect l="l" t="t" r="r" b="b"/>
                <a:pathLst>
                  <a:path w="238786" h="71535" extrusionOk="0">
                    <a:moveTo>
                      <a:pt x="193478" y="71536"/>
                    </a:moveTo>
                    <a:lnTo>
                      <a:pt x="204075" y="71536"/>
                    </a:lnTo>
                    <a:cubicBezTo>
                      <a:pt x="223829" y="70943"/>
                      <a:pt x="239363" y="54449"/>
                      <a:pt x="238770" y="34694"/>
                    </a:cubicBezTo>
                    <a:cubicBezTo>
                      <a:pt x="238200" y="15773"/>
                      <a:pt x="222996" y="568"/>
                      <a:pt x="204075" y="0"/>
                    </a:cubicBezTo>
                    <a:lnTo>
                      <a:pt x="0" y="0"/>
                    </a:lnTo>
                    <a:lnTo>
                      <a:pt x="0" y="19680"/>
                    </a:lnTo>
                    <a:lnTo>
                      <a:pt x="204075" y="19680"/>
                    </a:lnTo>
                    <a:cubicBezTo>
                      <a:pt x="212889" y="20870"/>
                      <a:pt x="219069" y="28981"/>
                      <a:pt x="217879" y="37795"/>
                    </a:cubicBezTo>
                    <a:cubicBezTo>
                      <a:pt x="216908" y="44978"/>
                      <a:pt x="211259" y="50629"/>
                      <a:pt x="204075" y="51599"/>
                    </a:cubicBezTo>
                    <a:lnTo>
                      <a:pt x="193478" y="51599"/>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7" name="Google Shape;1057;p85">
                <a:extLst>
                  <a:ext uri="{FF2B5EF4-FFF2-40B4-BE49-F238E27FC236}">
                    <a16:creationId xmlns:a16="http://schemas.microsoft.com/office/drawing/2014/main" id="{0739207B-8E63-FD23-D037-F26B75869ECA}"/>
                  </a:ext>
                </a:extLst>
              </p:cNvPr>
              <p:cNvSpPr/>
              <p:nvPr/>
            </p:nvSpPr>
            <p:spPr>
              <a:xfrm>
                <a:off x="3458954" y="4628218"/>
                <a:ext cx="174991" cy="72015"/>
              </a:xfrm>
              <a:custGeom>
                <a:avLst/>
                <a:gdLst/>
                <a:ahLst/>
                <a:cxnLst/>
                <a:rect l="l" t="t" r="r" b="b"/>
                <a:pathLst>
                  <a:path w="174991" h="72015" extrusionOk="0">
                    <a:moveTo>
                      <a:pt x="174991" y="36039"/>
                    </a:moveTo>
                    <a:cubicBezTo>
                      <a:pt x="175096" y="16241"/>
                      <a:pt x="159131" y="106"/>
                      <a:pt x="139333" y="1"/>
                    </a:cubicBezTo>
                    <a:cubicBezTo>
                      <a:pt x="120636" y="-99"/>
                      <a:pt x="105003" y="14188"/>
                      <a:pt x="103423" y="32818"/>
                    </a:cubicBezTo>
                    <a:lnTo>
                      <a:pt x="122748" y="32818"/>
                    </a:lnTo>
                    <a:cubicBezTo>
                      <a:pt x="124564" y="23857"/>
                      <a:pt x="133301" y="18065"/>
                      <a:pt x="142262" y="19881"/>
                    </a:cubicBezTo>
                    <a:cubicBezTo>
                      <a:pt x="151223" y="21698"/>
                      <a:pt x="157015" y="30435"/>
                      <a:pt x="155199" y="39396"/>
                    </a:cubicBezTo>
                    <a:cubicBezTo>
                      <a:pt x="153837" y="46113"/>
                      <a:pt x="148478" y="51296"/>
                      <a:pt x="141719" y="52433"/>
                    </a:cubicBezTo>
                    <a:lnTo>
                      <a:pt x="141719" y="52207"/>
                    </a:lnTo>
                    <a:lnTo>
                      <a:pt x="0" y="52207"/>
                    </a:lnTo>
                    <a:lnTo>
                      <a:pt x="0" y="72016"/>
                    </a:lnTo>
                    <a:lnTo>
                      <a:pt x="136211" y="72016"/>
                    </a:lnTo>
                    <a:cubicBezTo>
                      <a:pt x="137177" y="72016"/>
                      <a:pt x="138144" y="72016"/>
                      <a:pt x="139110" y="72016"/>
                    </a:cubicBezTo>
                    <a:cubicBezTo>
                      <a:pt x="140076" y="72016"/>
                      <a:pt x="140785" y="72016"/>
                      <a:pt x="141622" y="72016"/>
                    </a:cubicBezTo>
                    <a:lnTo>
                      <a:pt x="141880" y="72016"/>
                    </a:lnTo>
                    <a:cubicBezTo>
                      <a:pt x="160637" y="70548"/>
                      <a:pt x="175082" y="54853"/>
                      <a:pt x="174991" y="36039"/>
                    </a:cubicBez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8" name="Google Shape;1058;p85">
                <a:extLst>
                  <a:ext uri="{FF2B5EF4-FFF2-40B4-BE49-F238E27FC236}">
                    <a16:creationId xmlns:a16="http://schemas.microsoft.com/office/drawing/2014/main" id="{B9B4E5BA-63D4-9359-8938-56B25DA57169}"/>
                  </a:ext>
                </a:extLst>
              </p:cNvPr>
              <p:cNvSpPr/>
              <p:nvPr/>
            </p:nvSpPr>
            <p:spPr>
              <a:xfrm>
                <a:off x="3459824" y="4876992"/>
                <a:ext cx="174829" cy="71691"/>
              </a:xfrm>
              <a:custGeom>
                <a:avLst/>
                <a:gdLst/>
                <a:ahLst/>
                <a:cxnLst/>
                <a:rect l="l" t="t" r="r" b="b"/>
                <a:pathLst>
                  <a:path w="174829" h="71691" extrusionOk="0">
                    <a:moveTo>
                      <a:pt x="174829" y="36013"/>
                    </a:moveTo>
                    <a:cubicBezTo>
                      <a:pt x="174736" y="55812"/>
                      <a:pt x="158611" y="71785"/>
                      <a:pt x="138812" y="71691"/>
                    </a:cubicBezTo>
                    <a:cubicBezTo>
                      <a:pt x="120392" y="71604"/>
                      <a:pt x="105036" y="57571"/>
                      <a:pt x="103294" y="39234"/>
                    </a:cubicBezTo>
                    <a:lnTo>
                      <a:pt x="122780" y="39234"/>
                    </a:lnTo>
                    <a:cubicBezTo>
                      <a:pt x="124634" y="48169"/>
                      <a:pt x="133380" y="53909"/>
                      <a:pt x="142315" y="52057"/>
                    </a:cubicBezTo>
                    <a:cubicBezTo>
                      <a:pt x="151250" y="50201"/>
                      <a:pt x="156991" y="41457"/>
                      <a:pt x="155137" y="32522"/>
                    </a:cubicBezTo>
                    <a:cubicBezTo>
                      <a:pt x="153755" y="25858"/>
                      <a:pt x="148429" y="20724"/>
                      <a:pt x="141719" y="19587"/>
                    </a:cubicBezTo>
                    <a:lnTo>
                      <a:pt x="141719" y="19845"/>
                    </a:lnTo>
                    <a:lnTo>
                      <a:pt x="0" y="19845"/>
                    </a:lnTo>
                    <a:lnTo>
                      <a:pt x="0" y="36"/>
                    </a:lnTo>
                    <a:lnTo>
                      <a:pt x="136082" y="36"/>
                    </a:lnTo>
                    <a:cubicBezTo>
                      <a:pt x="137048" y="-12"/>
                      <a:pt x="138015" y="-12"/>
                      <a:pt x="138981" y="36"/>
                    </a:cubicBezTo>
                    <a:cubicBezTo>
                      <a:pt x="139818" y="36"/>
                      <a:pt x="140656" y="36"/>
                      <a:pt x="141493" y="36"/>
                    </a:cubicBezTo>
                    <a:lnTo>
                      <a:pt x="141719" y="36"/>
                    </a:lnTo>
                    <a:cubicBezTo>
                      <a:pt x="160469" y="1518"/>
                      <a:pt x="174905" y="17207"/>
                      <a:pt x="174829" y="36013"/>
                    </a:cubicBez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119" name="Google Shape;1059;p85">
                <a:extLst>
                  <a:ext uri="{FF2B5EF4-FFF2-40B4-BE49-F238E27FC236}">
                    <a16:creationId xmlns:a16="http://schemas.microsoft.com/office/drawing/2014/main" id="{7AC50860-DA1F-39A1-63D3-8345080B5DF2}"/>
                  </a:ext>
                </a:extLst>
              </p:cNvPr>
              <p:cNvSpPr/>
              <p:nvPr/>
            </p:nvSpPr>
            <p:spPr>
              <a:xfrm>
                <a:off x="3378787" y="4553878"/>
                <a:ext cx="463807" cy="463807"/>
              </a:xfrm>
              <a:custGeom>
                <a:avLst/>
                <a:gdLst/>
                <a:ahLst/>
                <a:cxnLst/>
                <a:rect l="l" t="t" r="r" b="b"/>
                <a:pathLst>
                  <a:path w="463807" h="463807" extrusionOk="0">
                    <a:moveTo>
                      <a:pt x="0" y="0"/>
                    </a:moveTo>
                    <a:lnTo>
                      <a:pt x="0" y="463807"/>
                    </a:lnTo>
                    <a:lnTo>
                      <a:pt x="463807" y="463807"/>
                    </a:lnTo>
                    <a:lnTo>
                      <a:pt x="463807" y="0"/>
                    </a:lnTo>
                    <a:close/>
                    <a:moveTo>
                      <a:pt x="444031" y="442227"/>
                    </a:moveTo>
                    <a:lnTo>
                      <a:pt x="19776" y="442227"/>
                    </a:lnTo>
                    <a:lnTo>
                      <a:pt x="19776" y="18005"/>
                    </a:lnTo>
                    <a:lnTo>
                      <a:pt x="444031" y="18005"/>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62" name="Rectangle 61">
              <a:extLst>
                <a:ext uri="{FF2B5EF4-FFF2-40B4-BE49-F238E27FC236}">
                  <a16:creationId xmlns:a16="http://schemas.microsoft.com/office/drawing/2014/main" id="{2807FCC7-6EAD-0C0D-B605-03EEAC731F8C}"/>
                </a:ext>
              </a:extLst>
            </p:cNvPr>
            <p:cNvSpPr/>
            <p:nvPr/>
          </p:nvSpPr>
          <p:spPr>
            <a:xfrm>
              <a:off x="4061518"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Thunderstorms and strong winds</a:t>
            </a:r>
            <a:br>
              <a:rPr lang="lv-LV"/>
            </a:br>
            <a:r>
              <a:rPr lang="en-gb">
                <a:solidFill>
                  <a:srgbClr val="A8192D"/>
                </a:solidFill>
              </a:rPr>
              <a:t>How to proceed? (2/4)</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2</a:t>
            </a:fld>
            <a:endParaRPr lang="en-GB"/>
          </a:p>
        </p:txBody>
      </p:sp>
      <p:cxnSp>
        <p:nvCxnSpPr>
          <p:cNvPr id="29" name="Straight Connector 28">
            <a:extLst>
              <a:ext uri="{FF2B5EF4-FFF2-40B4-BE49-F238E27FC236}">
                <a16:creationId xmlns:a16="http://schemas.microsoft.com/office/drawing/2014/main" id="{4BBC05D7-CB5F-7B1D-9CC7-D35C7404EC4C}"/>
              </a:ext>
            </a:extLst>
          </p:cNvPr>
          <p:cNvCxnSpPr>
            <a:cxnSpLocks/>
          </p:cNvCxnSpPr>
          <p:nvPr/>
        </p:nvCxnSpPr>
        <p:spPr>
          <a:xfrm>
            <a:off x="1100138" y="3002496"/>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0" name="Straight Connector 29">
            <a:extLst>
              <a:ext uri="{FF2B5EF4-FFF2-40B4-BE49-F238E27FC236}">
                <a16:creationId xmlns:a16="http://schemas.microsoft.com/office/drawing/2014/main" id="{A9BDFD01-2873-88E2-665B-A15782C2DE16}"/>
              </a:ext>
            </a:extLst>
          </p:cNvPr>
          <p:cNvCxnSpPr>
            <a:cxnSpLocks/>
          </p:cNvCxnSpPr>
          <p:nvPr/>
        </p:nvCxnSpPr>
        <p:spPr>
          <a:xfrm>
            <a:off x="1100138" y="3541692"/>
            <a:ext cx="6761163"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7" name="Straight Connector 16">
            <a:extLst>
              <a:ext uri="{FF2B5EF4-FFF2-40B4-BE49-F238E27FC236}">
                <a16:creationId xmlns:a16="http://schemas.microsoft.com/office/drawing/2014/main" id="{3613A840-4E6D-FAE5-4D8C-5E63294A7644}"/>
              </a:ext>
            </a:extLst>
          </p:cNvPr>
          <p:cNvCxnSpPr>
            <a:cxnSpLocks/>
          </p:cNvCxnSpPr>
          <p:nvPr/>
        </p:nvCxnSpPr>
        <p:spPr>
          <a:xfrm>
            <a:off x="1100138" y="5700575"/>
            <a:ext cx="6761163"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1" name="Straight Connector 20">
            <a:extLst>
              <a:ext uri="{FF2B5EF4-FFF2-40B4-BE49-F238E27FC236}">
                <a16:creationId xmlns:a16="http://schemas.microsoft.com/office/drawing/2014/main" id="{F3097C31-51F2-D5F8-7426-0A669C9D933B}"/>
              </a:ext>
            </a:extLst>
          </p:cNvPr>
          <p:cNvCxnSpPr>
            <a:cxnSpLocks/>
          </p:cNvCxnSpPr>
          <p:nvPr/>
        </p:nvCxnSpPr>
        <p:spPr>
          <a:xfrm>
            <a:off x="1100138" y="4082987"/>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Straight Connector 30">
            <a:extLst>
              <a:ext uri="{FF2B5EF4-FFF2-40B4-BE49-F238E27FC236}">
                <a16:creationId xmlns:a16="http://schemas.microsoft.com/office/drawing/2014/main" id="{A23283C8-AC46-8F65-599C-AE50F7F5ECCA}"/>
              </a:ext>
            </a:extLst>
          </p:cNvPr>
          <p:cNvCxnSpPr>
            <a:cxnSpLocks/>
          </p:cNvCxnSpPr>
          <p:nvPr/>
        </p:nvCxnSpPr>
        <p:spPr>
          <a:xfrm>
            <a:off x="1100138" y="5161379"/>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 name="Straight Connector 3">
            <a:extLst>
              <a:ext uri="{FF2B5EF4-FFF2-40B4-BE49-F238E27FC236}">
                <a16:creationId xmlns:a16="http://schemas.microsoft.com/office/drawing/2014/main" id="{A34C0450-1485-CB4E-D4F8-1B9D567AB1FF}"/>
              </a:ext>
            </a:extLst>
          </p:cNvPr>
          <p:cNvCxnSpPr>
            <a:cxnSpLocks/>
          </p:cNvCxnSpPr>
          <p:nvPr/>
        </p:nvCxnSpPr>
        <p:spPr>
          <a:xfrm>
            <a:off x="1100138" y="4622183"/>
            <a:ext cx="6761163"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4" name="Rectangle 23">
            <a:extLst>
              <a:ext uri="{FF2B5EF4-FFF2-40B4-BE49-F238E27FC236}">
                <a16:creationId xmlns:a16="http://schemas.microsoft.com/office/drawing/2014/main" id="{09C2CCCC-B4A3-9533-7C1A-4E7B99F19AB0}"/>
              </a:ext>
            </a:extLst>
          </p:cNvPr>
          <p:cNvSpPr/>
          <p:nvPr/>
        </p:nvSpPr>
        <p:spPr>
          <a:xfrm>
            <a:off x="1100138" y="2536825"/>
            <a:ext cx="6761162" cy="3731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Take shelter in a building or car.</a:t>
            </a:r>
            <a:r>
              <a:rPr lang="en-gb" sz="1200" b="1">
                <a:solidFill>
                  <a:srgbClr val="A8192D"/>
                </a:solidFill>
              </a:rPr>
              <a:t> Remember! </a:t>
            </a:r>
            <a:r>
              <a:rPr lang="en-gb" sz="1200">
                <a:solidFill>
                  <a:schemeClr val="tx1"/>
                </a:solidFill>
              </a:rPr>
              <a:t>If you are in a car, find a safe place to stop. Stay in it, avoid touching metal surfaces and switch on the hazard warning light.</a:t>
            </a:r>
            <a:endParaRPr lang="lv-LV" sz="1200" b="0" i="0">
              <a:solidFill>
                <a:schemeClr val="tx1"/>
              </a:solidFill>
              <a:effectLst/>
            </a:endParaRPr>
          </a:p>
        </p:txBody>
      </p:sp>
      <p:sp>
        <p:nvSpPr>
          <p:cNvPr id="35" name="Rectangle 34">
            <a:extLst>
              <a:ext uri="{FF2B5EF4-FFF2-40B4-BE49-F238E27FC236}">
                <a16:creationId xmlns:a16="http://schemas.microsoft.com/office/drawing/2014/main" id="{195A68F4-D954-A1C0-A647-42A436D9BC2B}"/>
              </a:ext>
            </a:extLst>
          </p:cNvPr>
          <p:cNvSpPr/>
          <p:nvPr/>
        </p:nvSpPr>
        <p:spPr>
          <a:xfrm>
            <a:off x="1100138" y="3079128"/>
            <a:ext cx="6761162" cy="3731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When in the forest, seek shelter in a lower area, in a thicket with low trees.</a:t>
            </a:r>
            <a:endParaRPr lang="lv-LV" sz="1200" b="0" i="0">
              <a:solidFill>
                <a:schemeClr val="tx1"/>
              </a:solidFill>
              <a:effectLst/>
            </a:endParaRPr>
          </a:p>
        </p:txBody>
      </p:sp>
      <p:sp>
        <p:nvSpPr>
          <p:cNvPr id="36" name="Rectangle 35">
            <a:extLst>
              <a:ext uri="{FF2B5EF4-FFF2-40B4-BE49-F238E27FC236}">
                <a16:creationId xmlns:a16="http://schemas.microsoft.com/office/drawing/2014/main" id="{3C145E88-345E-DEB9-9ABA-4CC30EEE55EB}"/>
              </a:ext>
            </a:extLst>
          </p:cNvPr>
          <p:cNvSpPr/>
          <p:nvPr/>
        </p:nvSpPr>
        <p:spPr>
          <a:xfrm>
            <a:off x="1100138" y="3625753"/>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If you are in an open area, take shelter in a low spot, such as a ravine or valley. Avoid being on hills, in open fields, near power lines.</a:t>
            </a:r>
            <a:endParaRPr lang="lv-LV" sz="1200" b="0" i="0">
              <a:solidFill>
                <a:schemeClr val="tx1"/>
              </a:solidFill>
              <a:effectLst/>
            </a:endParaRPr>
          </a:p>
        </p:txBody>
      </p:sp>
      <p:sp>
        <p:nvSpPr>
          <p:cNvPr id="14" name="Rectangle 13">
            <a:extLst>
              <a:ext uri="{FF2B5EF4-FFF2-40B4-BE49-F238E27FC236}">
                <a16:creationId xmlns:a16="http://schemas.microsoft.com/office/drawing/2014/main" id="{4B888F26-7D1A-CA27-B5A8-6248A7263371}"/>
              </a:ext>
            </a:extLst>
          </p:cNvPr>
          <p:cNvSpPr/>
          <p:nvPr/>
        </p:nvSpPr>
        <p:spPr>
          <a:xfrm>
            <a:off x="1100138" y="4710343"/>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Avoid sheltering in sheds, small buildings or under large isolated trees in open areas.</a:t>
            </a:r>
            <a:endParaRPr lang="lv-LV" sz="1200" b="0" i="0">
              <a:solidFill>
                <a:schemeClr val="tx1"/>
              </a:solidFill>
              <a:effectLst/>
            </a:endParaRPr>
          </a:p>
        </p:txBody>
      </p:sp>
      <p:sp>
        <p:nvSpPr>
          <p:cNvPr id="32" name="Rectangle 31">
            <a:extLst>
              <a:ext uri="{FF2B5EF4-FFF2-40B4-BE49-F238E27FC236}">
                <a16:creationId xmlns:a16="http://schemas.microsoft.com/office/drawing/2014/main" id="{642FDFF0-C1EF-2DFC-03F4-C85494893547}"/>
              </a:ext>
            </a:extLst>
          </p:cNvPr>
          <p:cNvSpPr/>
          <p:nvPr/>
        </p:nvSpPr>
        <p:spPr>
          <a:xfrm>
            <a:off x="1100137" y="5776200"/>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Remove valuables, avoid contact with metal objects, farm machinery, bicycles and the like.</a:t>
            </a:r>
          </a:p>
        </p:txBody>
      </p:sp>
      <p:sp>
        <p:nvSpPr>
          <p:cNvPr id="18" name="Rectangle 17">
            <a:extLst>
              <a:ext uri="{FF2B5EF4-FFF2-40B4-BE49-F238E27FC236}">
                <a16:creationId xmlns:a16="http://schemas.microsoft.com/office/drawing/2014/main" id="{257A3C35-39C9-A4E6-1837-31F170B2C97A}"/>
              </a:ext>
            </a:extLst>
          </p:cNvPr>
          <p:cNvSpPr/>
          <p:nvPr/>
        </p:nvSpPr>
        <p:spPr>
          <a:xfrm>
            <a:off x="1100138" y="4167981"/>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If you are on the water, try to get to shore and seek shelter immediately.</a:t>
            </a:r>
            <a:endParaRPr lang="lv-LV" sz="1200" b="0" i="0">
              <a:solidFill>
                <a:schemeClr val="tx1"/>
              </a:solidFill>
              <a:effectLst/>
            </a:endParaRPr>
          </a:p>
        </p:txBody>
      </p:sp>
      <p:sp>
        <p:nvSpPr>
          <p:cNvPr id="22" name="Rectangle 21">
            <a:extLst>
              <a:ext uri="{FF2B5EF4-FFF2-40B4-BE49-F238E27FC236}">
                <a16:creationId xmlns:a16="http://schemas.microsoft.com/office/drawing/2014/main" id="{BDC99A0B-8AB3-4918-5B31-2F9C4926A28C}"/>
              </a:ext>
            </a:extLst>
          </p:cNvPr>
          <p:cNvSpPr/>
          <p:nvPr/>
        </p:nvSpPr>
        <p:spPr>
          <a:xfrm>
            <a:off x="1100138" y="5252638"/>
            <a:ext cx="6761163"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Do not lie on concrete surfaces or lean against concrete walls.</a:t>
            </a:r>
            <a:endParaRPr lang="lv-LV" sz="1200" b="0" i="0">
              <a:solidFill>
                <a:schemeClr val="tx1"/>
              </a:solidFill>
              <a:effectLst/>
            </a:endParaRPr>
          </a:p>
        </p:txBody>
      </p:sp>
      <p:sp>
        <p:nvSpPr>
          <p:cNvPr id="23" name="Rectangle 22">
            <a:extLst>
              <a:ext uri="{FF2B5EF4-FFF2-40B4-BE49-F238E27FC236}">
                <a16:creationId xmlns:a16="http://schemas.microsoft.com/office/drawing/2014/main" id="{C79FE495-3705-FC56-C46F-7F38DBD9F9A7}"/>
              </a:ext>
            </a:extLst>
          </p:cNvPr>
          <p:cNvSpPr/>
          <p:nvPr/>
        </p:nvSpPr>
        <p:spPr>
          <a:xfrm>
            <a:off x="442913" y="2536825"/>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 name="L-Shape 5">
            <a:extLst>
              <a:ext uri="{FF2B5EF4-FFF2-40B4-BE49-F238E27FC236}">
                <a16:creationId xmlns:a16="http://schemas.microsoft.com/office/drawing/2014/main" id="{3680DECF-EC3E-375C-9E9E-1348C2762FB8}"/>
              </a:ext>
            </a:extLst>
          </p:cNvPr>
          <p:cNvSpPr/>
          <p:nvPr/>
        </p:nvSpPr>
        <p:spPr>
          <a:xfrm rot="13500000">
            <a:off x="559307" y="259843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9" name="Rectangle 18">
            <a:extLst>
              <a:ext uri="{FF2B5EF4-FFF2-40B4-BE49-F238E27FC236}">
                <a16:creationId xmlns:a16="http://schemas.microsoft.com/office/drawing/2014/main" id="{07531D68-F37F-8804-2790-05DE03E569AC}"/>
              </a:ext>
            </a:extLst>
          </p:cNvPr>
          <p:cNvSpPr/>
          <p:nvPr/>
        </p:nvSpPr>
        <p:spPr>
          <a:xfrm>
            <a:off x="442913" y="3076021"/>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 name="L-Shape 6">
            <a:extLst>
              <a:ext uri="{FF2B5EF4-FFF2-40B4-BE49-F238E27FC236}">
                <a16:creationId xmlns:a16="http://schemas.microsoft.com/office/drawing/2014/main" id="{CC3C3FD8-EBFA-CAFD-4FCC-7724B90AD1E5}"/>
              </a:ext>
            </a:extLst>
          </p:cNvPr>
          <p:cNvSpPr/>
          <p:nvPr/>
        </p:nvSpPr>
        <p:spPr>
          <a:xfrm rot="13500000">
            <a:off x="559307" y="313763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6" name="Rectangle 25">
            <a:extLst>
              <a:ext uri="{FF2B5EF4-FFF2-40B4-BE49-F238E27FC236}">
                <a16:creationId xmlns:a16="http://schemas.microsoft.com/office/drawing/2014/main" id="{F0CB5772-83FD-A70A-A885-67FCEEE49754}"/>
              </a:ext>
            </a:extLst>
          </p:cNvPr>
          <p:cNvSpPr/>
          <p:nvPr/>
        </p:nvSpPr>
        <p:spPr>
          <a:xfrm>
            <a:off x="442913" y="3617316"/>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 name="L-Shape 8">
            <a:extLst>
              <a:ext uri="{FF2B5EF4-FFF2-40B4-BE49-F238E27FC236}">
                <a16:creationId xmlns:a16="http://schemas.microsoft.com/office/drawing/2014/main" id="{9EBB1D1E-6449-913E-E858-C48CC79A35B7}"/>
              </a:ext>
            </a:extLst>
          </p:cNvPr>
          <p:cNvSpPr/>
          <p:nvPr/>
        </p:nvSpPr>
        <p:spPr>
          <a:xfrm rot="13500000">
            <a:off x="559307" y="367892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1" name="Rectangle 50">
            <a:extLst>
              <a:ext uri="{FF2B5EF4-FFF2-40B4-BE49-F238E27FC236}">
                <a16:creationId xmlns:a16="http://schemas.microsoft.com/office/drawing/2014/main" id="{459753F3-41F3-63B5-45E4-F3B58708C5B6}"/>
              </a:ext>
            </a:extLst>
          </p:cNvPr>
          <p:cNvSpPr/>
          <p:nvPr/>
        </p:nvSpPr>
        <p:spPr>
          <a:xfrm>
            <a:off x="442913" y="4695708"/>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1" name="L-Shape 10">
            <a:extLst>
              <a:ext uri="{FF2B5EF4-FFF2-40B4-BE49-F238E27FC236}">
                <a16:creationId xmlns:a16="http://schemas.microsoft.com/office/drawing/2014/main" id="{2699A53A-B3BD-81F5-62B1-E1AFB84CBAF9}"/>
              </a:ext>
            </a:extLst>
          </p:cNvPr>
          <p:cNvSpPr/>
          <p:nvPr/>
        </p:nvSpPr>
        <p:spPr>
          <a:xfrm rot="13500000">
            <a:off x="559307" y="475732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5" name="Rectangle 14">
            <a:extLst>
              <a:ext uri="{FF2B5EF4-FFF2-40B4-BE49-F238E27FC236}">
                <a16:creationId xmlns:a16="http://schemas.microsoft.com/office/drawing/2014/main" id="{9E0E0D22-42F4-802B-FD44-EDC127F0142C}"/>
              </a:ext>
            </a:extLst>
          </p:cNvPr>
          <p:cNvSpPr/>
          <p:nvPr/>
        </p:nvSpPr>
        <p:spPr>
          <a:xfrm>
            <a:off x="442913" y="577620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2" name="L-Shape 11">
            <a:extLst>
              <a:ext uri="{FF2B5EF4-FFF2-40B4-BE49-F238E27FC236}">
                <a16:creationId xmlns:a16="http://schemas.microsoft.com/office/drawing/2014/main" id="{EEEC8714-4554-535F-5536-4371C6F9A1BA}"/>
              </a:ext>
            </a:extLst>
          </p:cNvPr>
          <p:cNvSpPr/>
          <p:nvPr/>
        </p:nvSpPr>
        <p:spPr>
          <a:xfrm rot="13500000">
            <a:off x="559307" y="5837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7" name="Rectangle 46">
            <a:extLst>
              <a:ext uri="{FF2B5EF4-FFF2-40B4-BE49-F238E27FC236}">
                <a16:creationId xmlns:a16="http://schemas.microsoft.com/office/drawing/2014/main" id="{DE28A1F8-05E1-2D2E-5F4B-FFE030D33C0D}"/>
              </a:ext>
            </a:extLst>
          </p:cNvPr>
          <p:cNvSpPr/>
          <p:nvPr/>
        </p:nvSpPr>
        <p:spPr>
          <a:xfrm>
            <a:off x="442913" y="4156512"/>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3" name="L-Shape 12">
            <a:extLst>
              <a:ext uri="{FF2B5EF4-FFF2-40B4-BE49-F238E27FC236}">
                <a16:creationId xmlns:a16="http://schemas.microsoft.com/office/drawing/2014/main" id="{3F193BB6-564F-7ED4-20BE-73BF54343CE7}"/>
              </a:ext>
            </a:extLst>
          </p:cNvPr>
          <p:cNvSpPr/>
          <p:nvPr/>
        </p:nvSpPr>
        <p:spPr>
          <a:xfrm rot="13500000">
            <a:off x="559307" y="42181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4" name="Rectangle 33">
            <a:extLst>
              <a:ext uri="{FF2B5EF4-FFF2-40B4-BE49-F238E27FC236}">
                <a16:creationId xmlns:a16="http://schemas.microsoft.com/office/drawing/2014/main" id="{31E65DFA-47A0-4AD8-6B27-3C86CFB7284A}"/>
              </a:ext>
            </a:extLst>
          </p:cNvPr>
          <p:cNvSpPr/>
          <p:nvPr/>
        </p:nvSpPr>
        <p:spPr>
          <a:xfrm>
            <a:off x="442913" y="5234904"/>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6" name="L-Shape 15">
            <a:extLst>
              <a:ext uri="{FF2B5EF4-FFF2-40B4-BE49-F238E27FC236}">
                <a16:creationId xmlns:a16="http://schemas.microsoft.com/office/drawing/2014/main" id="{DE200739-7B25-E26F-EE8E-B08BBC35C608}"/>
              </a:ext>
            </a:extLst>
          </p:cNvPr>
          <p:cNvSpPr/>
          <p:nvPr/>
        </p:nvSpPr>
        <p:spPr>
          <a:xfrm rot="13500000">
            <a:off x="559307" y="529651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pic>
        <p:nvPicPr>
          <p:cNvPr id="20" name="Picture 19">
            <a:extLst>
              <a:ext uri="{FF2B5EF4-FFF2-40B4-BE49-F238E27FC236}">
                <a16:creationId xmlns:a16="http://schemas.microsoft.com/office/drawing/2014/main" id="{C2BA80A2-1330-781D-EFE4-7DB07666AC08}"/>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8218488" y="2535193"/>
            <a:ext cx="3530599" cy="3640959"/>
          </a:xfrm>
          <a:prstGeom prst="rect">
            <a:avLst/>
          </a:prstGeom>
        </p:spPr>
      </p:pic>
      <p:grpSp>
        <p:nvGrpSpPr>
          <p:cNvPr id="5" name="Group 4">
            <a:extLst>
              <a:ext uri="{FF2B5EF4-FFF2-40B4-BE49-F238E27FC236}">
                <a16:creationId xmlns:a16="http://schemas.microsoft.com/office/drawing/2014/main" id="{4C49FEC2-00CF-9C6C-DF35-8BAF1A0F5A3F}"/>
              </a:ext>
            </a:extLst>
          </p:cNvPr>
          <p:cNvGrpSpPr/>
          <p:nvPr/>
        </p:nvGrpSpPr>
        <p:grpSpPr>
          <a:xfrm>
            <a:off x="9190780" y="159786"/>
            <a:ext cx="2558308" cy="217488"/>
            <a:chOff x="9190780" y="159786"/>
            <a:chExt cx="2558308" cy="217488"/>
          </a:xfrm>
        </p:grpSpPr>
        <p:sp>
          <p:nvSpPr>
            <p:cNvPr id="8" name="Rectangle 7">
              <a:extLst>
                <a:ext uri="{FF2B5EF4-FFF2-40B4-BE49-F238E27FC236}">
                  <a16:creationId xmlns:a16="http://schemas.microsoft.com/office/drawing/2014/main" id="{E67E1A94-1DBC-20D5-CF20-BD0D0D0A5D0A}"/>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2BB58945-6A0D-6EE2-98F4-C6FC940E187E}"/>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7" name="Rectangle 36">
              <a:extLst>
                <a:ext uri="{FF2B5EF4-FFF2-40B4-BE49-F238E27FC236}">
                  <a16:creationId xmlns:a16="http://schemas.microsoft.com/office/drawing/2014/main" id="{A2D5DE67-A7AD-C3A7-2C73-147EE7E59A1D}"/>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B83D6990-6783-64C5-F3B2-D994903A71EC}"/>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544519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0CCB6DD0-0A2D-D7E9-76EC-1E664B1AF0D4}"/>
              </a:ext>
            </a:extLst>
          </p:cNvPr>
          <p:cNvGraphicFramePr>
            <a:graphicFrameLocks noChangeAspect="1"/>
          </p:cNvGraphicFramePr>
          <p:nvPr>
            <p:custDataLst>
              <p:tags r:id="rId1"/>
            </p:custDataLst>
            <p:extLst>
              <p:ext uri="{D42A27DB-BD31-4B8C-83A1-F6EECF244321}">
                <p14:modId xmlns:p14="http://schemas.microsoft.com/office/powerpoint/2010/main" val="2333077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31" name="think-cell data - do not delete" hidden="1">
                        <a:extLst>
                          <a:ext uri="{FF2B5EF4-FFF2-40B4-BE49-F238E27FC236}">
                            <a16:creationId xmlns:a16="http://schemas.microsoft.com/office/drawing/2014/main" id="{0CCB6DD0-0A2D-D7E9-76EC-1E664B1AF0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442914" y="1819275"/>
            <a:ext cx="1130356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dirty="0"/>
              <a:t>How to prepare for thunderstorms and strong wind gusts </a:t>
            </a:r>
            <a:r>
              <a:rPr lang="lv-LV" sz="1600" b="1" dirty="0" err="1"/>
              <a:t>when</a:t>
            </a:r>
            <a:r>
              <a:rPr lang="lv-LV" sz="1600" b="1" dirty="0"/>
              <a:t> </a:t>
            </a:r>
            <a:r>
              <a:rPr lang="lv-LV" sz="1600" b="1" dirty="0" err="1"/>
              <a:t>you</a:t>
            </a:r>
            <a:r>
              <a:rPr lang="lv-LV" sz="1600" b="1" dirty="0"/>
              <a:t> </a:t>
            </a:r>
            <a:r>
              <a:rPr lang="lv-LV" sz="1600" b="1" dirty="0" err="1"/>
              <a:t>receive</a:t>
            </a:r>
            <a:r>
              <a:rPr lang="en-gb" sz="1600" b="1" dirty="0"/>
              <a:t> a warning:</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Thunderstorms and strong winds</a:t>
            </a:r>
            <a:br>
              <a:rPr lang="lv-LV"/>
            </a:br>
            <a:r>
              <a:rPr lang="en-gb">
                <a:solidFill>
                  <a:srgbClr val="A8192D"/>
                </a:solidFill>
              </a:rPr>
              <a:t>How to proceed? (3/4)</a:t>
            </a:r>
            <a:endParaRPr lang="en-GB"/>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3</a:t>
            </a:fld>
            <a:endParaRPr lang="en-GB"/>
          </a:p>
        </p:txBody>
      </p:sp>
      <p:sp>
        <p:nvSpPr>
          <p:cNvPr id="75" name="Rectangle 74">
            <a:extLst>
              <a:ext uri="{FF2B5EF4-FFF2-40B4-BE49-F238E27FC236}">
                <a16:creationId xmlns:a16="http://schemas.microsoft.com/office/drawing/2014/main" id="{AB24C0B9-0E0F-E3B2-1237-5CBEE719A1F1}"/>
              </a:ext>
            </a:extLst>
          </p:cNvPr>
          <p:cNvSpPr/>
          <p:nvPr/>
        </p:nvSpPr>
        <p:spPr>
          <a:xfrm>
            <a:off x="1095747" y="2536825"/>
            <a:ext cx="10650727"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dirty="0">
                <a:solidFill>
                  <a:srgbClr val="212529"/>
                </a:solidFill>
                <a:effectLst/>
              </a:rPr>
              <a:t>Do not leave the building without a </a:t>
            </a:r>
            <a:r>
              <a:rPr lang="lv-LV" sz="1200" b="0" i="0" dirty="0" err="1">
                <a:solidFill>
                  <a:srgbClr val="212529"/>
                </a:solidFill>
                <a:effectLst/>
              </a:rPr>
              <a:t>particular</a:t>
            </a:r>
            <a:r>
              <a:rPr lang="en-gb" sz="1200" b="0" i="0" dirty="0">
                <a:solidFill>
                  <a:srgbClr val="212529"/>
                </a:solidFill>
                <a:effectLst/>
              </a:rPr>
              <a:t> need.</a:t>
            </a:r>
          </a:p>
        </p:txBody>
      </p:sp>
      <p:grpSp>
        <p:nvGrpSpPr>
          <p:cNvPr id="53" name="Group 52">
            <a:extLst>
              <a:ext uri="{FF2B5EF4-FFF2-40B4-BE49-F238E27FC236}">
                <a16:creationId xmlns:a16="http://schemas.microsoft.com/office/drawing/2014/main" id="{53D841C3-FCA8-0E4C-CFCD-DE20CC7BAC2E}"/>
              </a:ext>
            </a:extLst>
          </p:cNvPr>
          <p:cNvGrpSpPr/>
          <p:nvPr/>
        </p:nvGrpSpPr>
        <p:grpSpPr>
          <a:xfrm>
            <a:off x="442913" y="2536825"/>
            <a:ext cx="576263" cy="540000"/>
            <a:chOff x="442913" y="2538413"/>
            <a:chExt cx="576263" cy="540000"/>
          </a:xfrm>
        </p:grpSpPr>
        <p:sp>
          <p:nvSpPr>
            <p:cNvPr id="5" name="Rectangle 4">
              <a:extLst>
                <a:ext uri="{FF2B5EF4-FFF2-40B4-BE49-F238E27FC236}">
                  <a16:creationId xmlns:a16="http://schemas.microsoft.com/office/drawing/2014/main" id="{9B01BFF2-7C6C-4A11-DDDF-DFEB1E669057}"/>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 name="L-Shape 5">
              <a:extLst>
                <a:ext uri="{FF2B5EF4-FFF2-40B4-BE49-F238E27FC236}">
                  <a16:creationId xmlns:a16="http://schemas.microsoft.com/office/drawing/2014/main" id="{5C78887E-1D81-C336-D2B1-A3180DF6D42B}"/>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76" name="Rectangle 75">
            <a:extLst>
              <a:ext uri="{FF2B5EF4-FFF2-40B4-BE49-F238E27FC236}">
                <a16:creationId xmlns:a16="http://schemas.microsoft.com/office/drawing/2014/main" id="{8793B610-11BB-3DD5-343E-D5A1842E54DF}"/>
              </a:ext>
            </a:extLst>
          </p:cNvPr>
          <p:cNvSpPr/>
          <p:nvPr/>
        </p:nvSpPr>
        <p:spPr>
          <a:xfrm>
            <a:off x="1095748" y="3154955"/>
            <a:ext cx="106507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rgbClr val="212529"/>
                </a:solidFill>
              </a:rPr>
              <a:t>Be prepared for power cuts. </a:t>
            </a:r>
            <a:r>
              <a:rPr lang="en-gb" sz="1200" b="1">
                <a:solidFill>
                  <a:srgbClr val="A8192D"/>
                </a:solidFill>
              </a:rPr>
              <a:t>Remember!</a:t>
            </a:r>
            <a:r>
              <a:rPr lang="en-gb" sz="1200">
                <a:solidFill>
                  <a:srgbClr val="A8192D"/>
                </a:solidFill>
              </a:rPr>
              <a:t> </a:t>
            </a:r>
            <a:r>
              <a:rPr lang="en-gb" sz="1200">
                <a:solidFill>
                  <a:srgbClr val="212529"/>
                </a:solidFill>
              </a:rPr>
              <a:t>Charge your mobile phone in time.</a:t>
            </a:r>
            <a:endParaRPr lang="lv-LV" sz="1200" b="0" i="0" dirty="0">
              <a:solidFill>
                <a:srgbClr val="212529"/>
              </a:solidFill>
              <a:effectLst/>
            </a:endParaRPr>
          </a:p>
        </p:txBody>
      </p:sp>
      <p:grpSp>
        <p:nvGrpSpPr>
          <p:cNvPr id="52" name="Group 51">
            <a:extLst>
              <a:ext uri="{FF2B5EF4-FFF2-40B4-BE49-F238E27FC236}">
                <a16:creationId xmlns:a16="http://schemas.microsoft.com/office/drawing/2014/main" id="{65797E59-9420-4DCA-2BF0-7142E471B84C}"/>
              </a:ext>
            </a:extLst>
          </p:cNvPr>
          <p:cNvGrpSpPr/>
          <p:nvPr/>
        </p:nvGrpSpPr>
        <p:grpSpPr>
          <a:xfrm>
            <a:off x="442913" y="3155125"/>
            <a:ext cx="576263" cy="540000"/>
            <a:chOff x="442913" y="3203969"/>
            <a:chExt cx="576263" cy="540000"/>
          </a:xfrm>
        </p:grpSpPr>
        <p:sp>
          <p:nvSpPr>
            <p:cNvPr id="7" name="Rectangle 6">
              <a:extLst>
                <a:ext uri="{FF2B5EF4-FFF2-40B4-BE49-F238E27FC236}">
                  <a16:creationId xmlns:a16="http://schemas.microsoft.com/office/drawing/2014/main" id="{86FE1521-C46F-D8C5-EA1F-0B77C311CF77}"/>
                </a:ext>
              </a:extLst>
            </p:cNvPr>
            <p:cNvSpPr/>
            <p:nvPr/>
          </p:nvSpPr>
          <p:spPr>
            <a:xfrm>
              <a:off x="442913" y="320396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 name="L-Shape 8">
              <a:extLst>
                <a:ext uri="{FF2B5EF4-FFF2-40B4-BE49-F238E27FC236}">
                  <a16:creationId xmlns:a16="http://schemas.microsoft.com/office/drawing/2014/main" id="{2C33BD90-1F28-012B-9552-5BD45C0528F9}"/>
                </a:ext>
              </a:extLst>
            </p:cNvPr>
            <p:cNvSpPr/>
            <p:nvPr/>
          </p:nvSpPr>
          <p:spPr>
            <a:xfrm rot="13500000">
              <a:off x="559307" y="33375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13" name="Straight Connector 12">
            <a:extLst>
              <a:ext uri="{FF2B5EF4-FFF2-40B4-BE49-F238E27FC236}">
                <a16:creationId xmlns:a16="http://schemas.microsoft.com/office/drawing/2014/main" id="{57E638E7-D0A4-5E2D-AACB-B8C40DD06519}"/>
              </a:ext>
            </a:extLst>
          </p:cNvPr>
          <p:cNvCxnSpPr>
            <a:cxnSpLocks/>
          </p:cNvCxnSpPr>
          <p:nvPr/>
        </p:nvCxnSpPr>
        <p:spPr>
          <a:xfrm>
            <a:off x="1095374" y="3113963"/>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D5F3E7D7-11B3-9912-9E28-D800635741FC}"/>
              </a:ext>
            </a:extLst>
          </p:cNvPr>
          <p:cNvCxnSpPr>
            <a:cxnSpLocks/>
          </p:cNvCxnSpPr>
          <p:nvPr/>
        </p:nvCxnSpPr>
        <p:spPr>
          <a:xfrm>
            <a:off x="1095374" y="3732263"/>
            <a:ext cx="1065053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0B98F0A9-A0F5-94E3-A94F-1CD87810FB99}"/>
              </a:ext>
            </a:extLst>
          </p:cNvPr>
          <p:cNvCxnSpPr>
            <a:cxnSpLocks/>
          </p:cNvCxnSpPr>
          <p:nvPr/>
        </p:nvCxnSpPr>
        <p:spPr>
          <a:xfrm>
            <a:off x="1095374" y="5591269"/>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5FE1F1BA-74EB-89F7-7A1C-E75D518CD996}"/>
              </a:ext>
            </a:extLst>
          </p:cNvPr>
          <p:cNvCxnSpPr>
            <a:cxnSpLocks/>
          </p:cNvCxnSpPr>
          <p:nvPr/>
        </p:nvCxnSpPr>
        <p:spPr>
          <a:xfrm>
            <a:off x="1095374" y="4972720"/>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8" name="Straight Connector 27">
            <a:extLst>
              <a:ext uri="{FF2B5EF4-FFF2-40B4-BE49-F238E27FC236}">
                <a16:creationId xmlns:a16="http://schemas.microsoft.com/office/drawing/2014/main" id="{CA568E8B-8B6F-B25E-3CB3-5A3C3D31C90A}"/>
              </a:ext>
            </a:extLst>
          </p:cNvPr>
          <p:cNvCxnSpPr>
            <a:cxnSpLocks/>
          </p:cNvCxnSpPr>
          <p:nvPr/>
        </p:nvCxnSpPr>
        <p:spPr>
          <a:xfrm>
            <a:off x="1095374" y="4353751"/>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2" name="Rectangle 11">
            <a:extLst>
              <a:ext uri="{FF2B5EF4-FFF2-40B4-BE49-F238E27FC236}">
                <a16:creationId xmlns:a16="http://schemas.microsoft.com/office/drawing/2014/main" id="{6C159E5C-6825-65ED-B20E-2427062C845D}"/>
              </a:ext>
            </a:extLst>
          </p:cNvPr>
          <p:cNvSpPr/>
          <p:nvPr/>
        </p:nvSpPr>
        <p:spPr>
          <a:xfrm>
            <a:off x="1095748" y="5632514"/>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Do not park under trees, construction scaffolding, billboards, power lines.</a:t>
            </a:r>
          </a:p>
        </p:txBody>
      </p:sp>
      <p:grpSp>
        <p:nvGrpSpPr>
          <p:cNvPr id="42" name="Group 41">
            <a:extLst>
              <a:ext uri="{FF2B5EF4-FFF2-40B4-BE49-F238E27FC236}">
                <a16:creationId xmlns:a16="http://schemas.microsoft.com/office/drawing/2014/main" id="{A4F4AFF7-D322-3750-1DFA-D9C100938F39}"/>
              </a:ext>
            </a:extLst>
          </p:cNvPr>
          <p:cNvGrpSpPr/>
          <p:nvPr/>
        </p:nvGrpSpPr>
        <p:grpSpPr>
          <a:xfrm>
            <a:off x="442913" y="5632264"/>
            <a:ext cx="576263" cy="540000"/>
            <a:chOff x="442913" y="5632264"/>
            <a:chExt cx="576263" cy="540000"/>
          </a:xfrm>
        </p:grpSpPr>
        <p:sp>
          <p:nvSpPr>
            <p:cNvPr id="39" name="Rectangle 38">
              <a:extLst>
                <a:ext uri="{FF2B5EF4-FFF2-40B4-BE49-F238E27FC236}">
                  <a16:creationId xmlns:a16="http://schemas.microsoft.com/office/drawing/2014/main" id="{1827754A-E5C9-3C2B-2904-C6CA6ABA4D9D}"/>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1" name="L-Shape 40">
              <a:extLst>
                <a:ext uri="{FF2B5EF4-FFF2-40B4-BE49-F238E27FC236}">
                  <a16:creationId xmlns:a16="http://schemas.microsoft.com/office/drawing/2014/main" id="{23DF718D-7257-2123-82CE-6D108C84E70D}"/>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77" name="Rectangle 76">
            <a:extLst>
              <a:ext uri="{FF2B5EF4-FFF2-40B4-BE49-F238E27FC236}">
                <a16:creationId xmlns:a16="http://schemas.microsoft.com/office/drawing/2014/main" id="{7507519A-1DE4-B47D-BFBC-5EC74A788B23}"/>
              </a:ext>
            </a:extLst>
          </p:cNvPr>
          <p:cNvSpPr/>
          <p:nvPr/>
        </p:nvSpPr>
        <p:spPr>
          <a:xfrm>
            <a:off x="1095748" y="5014381"/>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dirty="0">
                <a:solidFill>
                  <a:srgbClr val="212529"/>
                </a:solidFill>
              </a:rPr>
              <a:t>Disconnect electrical equipment in </a:t>
            </a:r>
            <a:r>
              <a:rPr lang="lv-LV" sz="1200" dirty="0" err="1">
                <a:solidFill>
                  <a:srgbClr val="212529"/>
                </a:solidFill>
              </a:rPr>
              <a:t>advance</a:t>
            </a:r>
            <a:r>
              <a:rPr lang="en-gb" sz="1200" dirty="0">
                <a:solidFill>
                  <a:srgbClr val="212529"/>
                </a:solidFill>
              </a:rPr>
              <a:t>. A surge of current or voltage caused by lightning can cause serious damage.</a:t>
            </a:r>
            <a:endParaRPr lang="lv-LV" sz="1200" b="0" i="0" dirty="0">
              <a:solidFill>
                <a:srgbClr val="212529"/>
              </a:solidFill>
              <a:effectLst/>
            </a:endParaRPr>
          </a:p>
        </p:txBody>
      </p:sp>
      <p:grpSp>
        <p:nvGrpSpPr>
          <p:cNvPr id="43" name="Group 42">
            <a:extLst>
              <a:ext uri="{FF2B5EF4-FFF2-40B4-BE49-F238E27FC236}">
                <a16:creationId xmlns:a16="http://schemas.microsoft.com/office/drawing/2014/main" id="{C1882662-BF50-0FC2-9D53-D9AD4D05B1BE}"/>
              </a:ext>
            </a:extLst>
          </p:cNvPr>
          <p:cNvGrpSpPr/>
          <p:nvPr/>
        </p:nvGrpSpPr>
        <p:grpSpPr>
          <a:xfrm>
            <a:off x="442913" y="5013712"/>
            <a:ext cx="576263" cy="540000"/>
            <a:chOff x="442913" y="5632264"/>
            <a:chExt cx="576263" cy="540000"/>
          </a:xfrm>
        </p:grpSpPr>
        <p:sp>
          <p:nvSpPr>
            <p:cNvPr id="44" name="Rectangle 43">
              <a:extLst>
                <a:ext uri="{FF2B5EF4-FFF2-40B4-BE49-F238E27FC236}">
                  <a16:creationId xmlns:a16="http://schemas.microsoft.com/office/drawing/2014/main" id="{B5C01C9D-FCFE-7C06-355F-B51DC9CE2BD7}"/>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5" name="L-Shape 44">
              <a:extLst>
                <a:ext uri="{FF2B5EF4-FFF2-40B4-BE49-F238E27FC236}">
                  <a16:creationId xmlns:a16="http://schemas.microsoft.com/office/drawing/2014/main" id="{95F83EE7-077E-1143-291F-23EE821A1687}"/>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99" name="Rectangle 98">
            <a:extLst>
              <a:ext uri="{FF2B5EF4-FFF2-40B4-BE49-F238E27FC236}">
                <a16:creationId xmlns:a16="http://schemas.microsoft.com/office/drawing/2014/main" id="{805B5EBD-6AAC-3E2E-7379-47BAFD8ABB47}"/>
              </a:ext>
            </a:extLst>
          </p:cNvPr>
          <p:cNvSpPr/>
          <p:nvPr/>
        </p:nvSpPr>
        <p:spPr>
          <a:xfrm>
            <a:off x="1095748" y="439583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Close doors and windows, blinds and curtains.</a:t>
            </a:r>
            <a:endParaRPr lang="lv-LV" sz="1200" b="0" i="0">
              <a:solidFill>
                <a:schemeClr val="tx1"/>
              </a:solidFill>
              <a:effectLst/>
            </a:endParaRPr>
          </a:p>
        </p:txBody>
      </p:sp>
      <p:grpSp>
        <p:nvGrpSpPr>
          <p:cNvPr id="46" name="Group 45">
            <a:extLst>
              <a:ext uri="{FF2B5EF4-FFF2-40B4-BE49-F238E27FC236}">
                <a16:creationId xmlns:a16="http://schemas.microsoft.com/office/drawing/2014/main" id="{9D0D27D0-1D3C-D063-303A-78578DD5B482}"/>
              </a:ext>
            </a:extLst>
          </p:cNvPr>
          <p:cNvGrpSpPr/>
          <p:nvPr/>
        </p:nvGrpSpPr>
        <p:grpSpPr>
          <a:xfrm>
            <a:off x="442913" y="4394743"/>
            <a:ext cx="576263" cy="540000"/>
            <a:chOff x="442913" y="5632264"/>
            <a:chExt cx="576263" cy="540000"/>
          </a:xfrm>
        </p:grpSpPr>
        <p:sp>
          <p:nvSpPr>
            <p:cNvPr id="48" name="Rectangle 47">
              <a:extLst>
                <a:ext uri="{FF2B5EF4-FFF2-40B4-BE49-F238E27FC236}">
                  <a16:creationId xmlns:a16="http://schemas.microsoft.com/office/drawing/2014/main" id="{718C1DA6-897D-1E84-C3B9-46D621F0912C}"/>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9" name="L-Shape 48">
              <a:extLst>
                <a:ext uri="{FF2B5EF4-FFF2-40B4-BE49-F238E27FC236}">
                  <a16:creationId xmlns:a16="http://schemas.microsoft.com/office/drawing/2014/main" id="{EB8CA6BE-7B8C-6996-F7C4-29CB41CDD342}"/>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33" name="Rectangle 32">
            <a:extLst>
              <a:ext uri="{FF2B5EF4-FFF2-40B4-BE49-F238E27FC236}">
                <a16:creationId xmlns:a16="http://schemas.microsoft.com/office/drawing/2014/main" id="{A9EA678B-1C92-D1EC-5EF2-97D0A4907E68}"/>
              </a:ext>
            </a:extLst>
          </p:cNvPr>
          <p:cNvSpPr/>
          <p:nvPr/>
        </p:nvSpPr>
        <p:spPr>
          <a:xfrm>
            <a:off x="1095748" y="3776863"/>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dirty="0">
                <a:solidFill>
                  <a:srgbClr val="212529"/>
                </a:solidFill>
              </a:rPr>
              <a:t>Secure</a:t>
            </a:r>
            <a:r>
              <a:rPr lang="lv-LV" sz="1200" dirty="0">
                <a:solidFill>
                  <a:srgbClr val="212529"/>
                </a:solidFill>
              </a:rPr>
              <a:t> </a:t>
            </a:r>
            <a:r>
              <a:rPr lang="en-gb" sz="1200" b="0" i="0" dirty="0">
                <a:solidFill>
                  <a:srgbClr val="212529"/>
                </a:solidFill>
                <a:effectLst/>
              </a:rPr>
              <a:t>objects on the balcony or in the courtyard that could be blown away and cause damage.</a:t>
            </a:r>
          </a:p>
        </p:txBody>
      </p:sp>
      <p:grpSp>
        <p:nvGrpSpPr>
          <p:cNvPr id="54" name="Group 53">
            <a:extLst>
              <a:ext uri="{FF2B5EF4-FFF2-40B4-BE49-F238E27FC236}">
                <a16:creationId xmlns:a16="http://schemas.microsoft.com/office/drawing/2014/main" id="{AEB34293-42F7-9DB0-592C-B0D02ABB0F4B}"/>
              </a:ext>
            </a:extLst>
          </p:cNvPr>
          <p:cNvGrpSpPr/>
          <p:nvPr/>
        </p:nvGrpSpPr>
        <p:grpSpPr>
          <a:xfrm>
            <a:off x="442913" y="3775354"/>
            <a:ext cx="576263" cy="540000"/>
            <a:chOff x="442913" y="2538413"/>
            <a:chExt cx="576263" cy="540000"/>
          </a:xfrm>
        </p:grpSpPr>
        <p:sp>
          <p:nvSpPr>
            <p:cNvPr id="55" name="Rectangle 54">
              <a:extLst>
                <a:ext uri="{FF2B5EF4-FFF2-40B4-BE49-F238E27FC236}">
                  <a16:creationId xmlns:a16="http://schemas.microsoft.com/office/drawing/2014/main" id="{BBE22A93-5587-DA7B-29CF-65407AE35D02}"/>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6" name="L-Shape 55">
              <a:extLst>
                <a:ext uri="{FF2B5EF4-FFF2-40B4-BE49-F238E27FC236}">
                  <a16:creationId xmlns:a16="http://schemas.microsoft.com/office/drawing/2014/main" id="{591B758D-F953-BC53-26C5-F859207AF361}"/>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3" name="Group 2">
            <a:extLst>
              <a:ext uri="{FF2B5EF4-FFF2-40B4-BE49-F238E27FC236}">
                <a16:creationId xmlns:a16="http://schemas.microsoft.com/office/drawing/2014/main" id="{7BC7DBC7-037C-708E-4D4E-065EB3F0B6BE}"/>
              </a:ext>
            </a:extLst>
          </p:cNvPr>
          <p:cNvGrpSpPr/>
          <p:nvPr/>
        </p:nvGrpSpPr>
        <p:grpSpPr>
          <a:xfrm>
            <a:off x="9190780" y="159786"/>
            <a:ext cx="2558308" cy="217488"/>
            <a:chOff x="9190780" y="159786"/>
            <a:chExt cx="2558308" cy="217488"/>
          </a:xfrm>
        </p:grpSpPr>
        <p:sp>
          <p:nvSpPr>
            <p:cNvPr id="4" name="Rectangle 3">
              <a:extLst>
                <a:ext uri="{FF2B5EF4-FFF2-40B4-BE49-F238E27FC236}">
                  <a16:creationId xmlns:a16="http://schemas.microsoft.com/office/drawing/2014/main" id="{BF02D35A-10F3-7972-14FF-ECAC210BE002}"/>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BD70680B-54FE-B6BB-5232-B4626D5C7378}"/>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C6318C69-53B6-51DD-5D52-B37308DFE61E}"/>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19DCC04E-41B7-CB70-43E9-4C93CB28C804}"/>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015954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E9055983-5BDC-2790-0810-8F819DF26CD9}"/>
              </a:ext>
            </a:extLst>
          </p:cNvPr>
          <p:cNvGraphicFramePr>
            <a:graphicFrameLocks noChangeAspect="1"/>
          </p:cNvGraphicFramePr>
          <p:nvPr>
            <p:custDataLst>
              <p:tags r:id="rId1"/>
            </p:custDataLst>
            <p:extLst>
              <p:ext uri="{D42A27DB-BD31-4B8C-83A1-F6EECF244321}">
                <p14:modId xmlns:p14="http://schemas.microsoft.com/office/powerpoint/2010/main" val="3891412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29" name="think-cell data - do not delete" hidden="1">
                        <a:extLst>
                          <a:ext uri="{FF2B5EF4-FFF2-40B4-BE49-F238E27FC236}">
                            <a16:creationId xmlns:a16="http://schemas.microsoft.com/office/drawing/2014/main" id="{E9055983-5BDC-2790-0810-8F819DF26C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E384B44-88CC-8F76-E9AF-DBDBDD24EECE}"/>
              </a:ext>
            </a:extLst>
          </p:cNvPr>
          <p:cNvSpPr/>
          <p:nvPr/>
        </p:nvSpPr>
        <p:spPr>
          <a:xfrm>
            <a:off x="442913" y="2903046"/>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What to do if the power goes out:</a:t>
            </a:r>
          </a:p>
        </p:txBody>
      </p:sp>
      <p:sp>
        <p:nvSpPr>
          <p:cNvPr id="61" name="Rectangle 60">
            <a:extLst>
              <a:ext uri="{FF2B5EF4-FFF2-40B4-BE49-F238E27FC236}">
                <a16:creationId xmlns:a16="http://schemas.microsoft.com/office/drawing/2014/main" id="{36EC9590-1EE1-4A70-E132-4F25FB2A166A}"/>
              </a:ext>
            </a:extLst>
          </p:cNvPr>
          <p:cNvSpPr/>
          <p:nvPr/>
        </p:nvSpPr>
        <p:spPr>
          <a:xfrm>
            <a:off x="11173088" y="2903046"/>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7" name="Google Shape;944;p84">
            <a:extLst>
              <a:ext uri="{FF2B5EF4-FFF2-40B4-BE49-F238E27FC236}">
                <a16:creationId xmlns:a16="http://schemas.microsoft.com/office/drawing/2014/main" id="{2F42412E-1B19-F38E-130A-649F3A1FED51}"/>
              </a:ext>
            </a:extLst>
          </p:cNvPr>
          <p:cNvSpPr/>
          <p:nvPr/>
        </p:nvSpPr>
        <p:spPr>
          <a:xfrm>
            <a:off x="11280742" y="3011006"/>
            <a:ext cx="360363" cy="360363"/>
          </a:xfrm>
          <a:custGeom>
            <a:avLst/>
            <a:gdLst/>
            <a:ahLst/>
            <a:cxnLst/>
            <a:rect l="l" t="t" r="r" b="b"/>
            <a:pathLst>
              <a:path w="704" h="706" extrusionOk="0">
                <a:moveTo>
                  <a:pt x="510" y="0"/>
                </a:moveTo>
                <a:lnTo>
                  <a:pt x="510" y="0"/>
                </a:lnTo>
                <a:lnTo>
                  <a:pt x="452" y="0"/>
                </a:lnTo>
                <a:lnTo>
                  <a:pt x="367" y="245"/>
                </a:lnTo>
                <a:lnTo>
                  <a:pt x="495" y="245"/>
                </a:lnTo>
                <a:lnTo>
                  <a:pt x="298" y="490"/>
                </a:lnTo>
                <a:lnTo>
                  <a:pt x="359" y="311"/>
                </a:lnTo>
                <a:lnTo>
                  <a:pt x="254" y="310"/>
                </a:lnTo>
                <a:lnTo>
                  <a:pt x="356" y="15"/>
                </a:lnTo>
                <a:lnTo>
                  <a:pt x="361" y="0"/>
                </a:lnTo>
                <a:lnTo>
                  <a:pt x="329" y="0"/>
                </a:lnTo>
                <a:lnTo>
                  <a:pt x="291" y="0"/>
                </a:lnTo>
                <a:lnTo>
                  <a:pt x="0" y="0"/>
                </a:lnTo>
                <a:lnTo>
                  <a:pt x="0" y="706"/>
                </a:lnTo>
                <a:lnTo>
                  <a:pt x="704" y="706"/>
                </a:lnTo>
                <a:lnTo>
                  <a:pt x="704" y="0"/>
                </a:lnTo>
                <a:lnTo>
                  <a:pt x="510" y="0"/>
                </a:lnTo>
                <a:close/>
                <a:moveTo>
                  <a:pt x="673" y="677"/>
                </a:moveTo>
                <a:lnTo>
                  <a:pt x="31" y="677"/>
                </a:lnTo>
                <a:lnTo>
                  <a:pt x="31" y="31"/>
                </a:lnTo>
                <a:lnTo>
                  <a:pt x="318" y="31"/>
                </a:lnTo>
                <a:lnTo>
                  <a:pt x="318" y="31"/>
                </a:lnTo>
                <a:lnTo>
                  <a:pt x="211" y="340"/>
                </a:lnTo>
                <a:lnTo>
                  <a:pt x="318" y="341"/>
                </a:lnTo>
                <a:lnTo>
                  <a:pt x="216" y="641"/>
                </a:lnTo>
                <a:lnTo>
                  <a:pt x="559" y="216"/>
                </a:lnTo>
                <a:lnTo>
                  <a:pt x="409" y="216"/>
                </a:lnTo>
                <a:lnTo>
                  <a:pt x="473" y="31"/>
                </a:lnTo>
                <a:lnTo>
                  <a:pt x="673" y="31"/>
                </a:lnTo>
                <a:lnTo>
                  <a:pt x="673" y="677"/>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2807FCC7-6EAD-0C0D-B605-03EEAC731F8C}"/>
              </a:ext>
            </a:extLst>
          </p:cNvPr>
          <p:cNvSpPr/>
          <p:nvPr/>
        </p:nvSpPr>
        <p:spPr>
          <a:xfrm>
            <a:off x="11102200" y="2903046"/>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Thunderstorms and strong winds</a:t>
            </a:r>
            <a:br>
              <a:rPr lang="lv-LV"/>
            </a:br>
            <a:r>
              <a:rPr lang="en-gb">
                <a:solidFill>
                  <a:srgbClr val="A8192D"/>
                </a:solidFill>
              </a:rPr>
              <a:t>How to proceed? (4/4)</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4</a:t>
            </a:fld>
            <a:endParaRPr lang="en-GB"/>
          </a:p>
        </p:txBody>
      </p:sp>
      <p:sp>
        <p:nvSpPr>
          <p:cNvPr id="36" name="Rectangle 35">
            <a:extLst>
              <a:ext uri="{FF2B5EF4-FFF2-40B4-BE49-F238E27FC236}">
                <a16:creationId xmlns:a16="http://schemas.microsoft.com/office/drawing/2014/main" id="{3C145E88-345E-DEB9-9ABA-4CC30EEE55EB}"/>
              </a:ext>
            </a:extLst>
          </p:cNvPr>
          <p:cNvSpPr/>
          <p:nvPr/>
        </p:nvSpPr>
        <p:spPr>
          <a:xfrm>
            <a:off x="1100138" y="3626277"/>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If your building suddenly loses electricity, check whether the power is out only in your home, in the whole building or in nearby neighbouring buildings. At dusk and in the dark, you can look out of the window and see if the windows of the neighbouring buildings are lit.</a:t>
            </a:r>
          </a:p>
        </p:txBody>
      </p:sp>
      <p:sp>
        <p:nvSpPr>
          <p:cNvPr id="14" name="Rectangle 13">
            <a:extLst>
              <a:ext uri="{FF2B5EF4-FFF2-40B4-BE49-F238E27FC236}">
                <a16:creationId xmlns:a16="http://schemas.microsoft.com/office/drawing/2014/main" id="{4B888F26-7D1A-CA27-B5A8-6248A7263371}"/>
              </a:ext>
            </a:extLst>
          </p:cNvPr>
          <p:cNvSpPr/>
          <p:nvPr/>
        </p:nvSpPr>
        <p:spPr>
          <a:xfrm>
            <a:off x="1100138" y="4711655"/>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dirty="0">
                <a:solidFill>
                  <a:schemeClr val="tx1"/>
                </a:solidFill>
              </a:rPr>
              <a:t>Switch off or disconnect power-consuming devices so that they can be safely operated when the power supply is restored.</a:t>
            </a:r>
            <a:endParaRPr lang="lv-LV" sz="1200" b="0" i="0" dirty="0">
              <a:solidFill>
                <a:schemeClr val="tx1"/>
              </a:solidFill>
              <a:effectLst/>
            </a:endParaRPr>
          </a:p>
        </p:txBody>
      </p:sp>
      <p:cxnSp>
        <p:nvCxnSpPr>
          <p:cNvPr id="17" name="Straight Connector 16">
            <a:extLst>
              <a:ext uri="{FF2B5EF4-FFF2-40B4-BE49-F238E27FC236}">
                <a16:creationId xmlns:a16="http://schemas.microsoft.com/office/drawing/2014/main" id="{3613A840-4E6D-FAE5-4D8C-5E63294A7644}"/>
              </a:ext>
            </a:extLst>
          </p:cNvPr>
          <p:cNvCxnSpPr>
            <a:cxnSpLocks/>
          </p:cNvCxnSpPr>
          <p:nvPr/>
        </p:nvCxnSpPr>
        <p:spPr>
          <a:xfrm>
            <a:off x="1100137" y="5710293"/>
            <a:ext cx="10648950"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8" name="Rectangle 17">
            <a:extLst>
              <a:ext uri="{FF2B5EF4-FFF2-40B4-BE49-F238E27FC236}">
                <a16:creationId xmlns:a16="http://schemas.microsoft.com/office/drawing/2014/main" id="{257A3C35-39C9-A4E6-1837-31F170B2C97A}"/>
              </a:ext>
            </a:extLst>
          </p:cNvPr>
          <p:cNvSpPr/>
          <p:nvPr/>
        </p:nvSpPr>
        <p:spPr>
          <a:xfrm>
            <a:off x="1100138" y="4168966"/>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dirty="0">
                <a:solidFill>
                  <a:schemeClr val="tx1"/>
                </a:solidFill>
              </a:rPr>
              <a:t>If you find that there is no electricity in the whole house or in the wider area, call the free fault reporting line of "</a:t>
            </a:r>
            <a:r>
              <a:rPr lang="en-gb" sz="1200" dirty="0" err="1">
                <a:solidFill>
                  <a:schemeClr val="tx1"/>
                </a:solidFill>
              </a:rPr>
              <a:t>Sadales</a:t>
            </a:r>
            <a:r>
              <a:rPr lang="en-gb" sz="1200" dirty="0">
                <a:solidFill>
                  <a:schemeClr val="tx1"/>
                </a:solidFill>
              </a:rPr>
              <a:t> </a:t>
            </a:r>
            <a:r>
              <a:rPr lang="en-gb" sz="1200" dirty="0" err="1">
                <a:solidFill>
                  <a:schemeClr val="tx1"/>
                </a:solidFill>
              </a:rPr>
              <a:t>tīkls</a:t>
            </a:r>
            <a:r>
              <a:rPr lang="en-gb" sz="1200" dirty="0">
                <a:solidFill>
                  <a:schemeClr val="tx1"/>
                </a:solidFill>
              </a:rPr>
              <a:t>" </a:t>
            </a:r>
            <a:r>
              <a:rPr lang="lv-LV" sz="1200" dirty="0" err="1">
                <a:solidFill>
                  <a:schemeClr val="tx1"/>
                </a:solidFill>
              </a:rPr>
              <a:t>at</a:t>
            </a:r>
            <a:r>
              <a:rPr lang="lv-LV" sz="1200" dirty="0">
                <a:solidFill>
                  <a:schemeClr val="tx1"/>
                </a:solidFill>
              </a:rPr>
              <a:t> </a:t>
            </a:r>
            <a:r>
              <a:rPr lang="en-gb" sz="1200" dirty="0">
                <a:solidFill>
                  <a:schemeClr val="tx1"/>
                </a:solidFill>
              </a:rPr>
              <a:t>80 200 404.</a:t>
            </a:r>
            <a:endParaRPr lang="lv-LV" sz="1200" b="0" i="0" dirty="0">
              <a:solidFill>
                <a:schemeClr val="tx1"/>
              </a:solidFill>
              <a:effectLst/>
              <a:cs typeface="Arial"/>
            </a:endParaRPr>
          </a:p>
        </p:txBody>
      </p:sp>
      <p:cxnSp>
        <p:nvCxnSpPr>
          <p:cNvPr id="21" name="Straight Connector 20">
            <a:extLst>
              <a:ext uri="{FF2B5EF4-FFF2-40B4-BE49-F238E27FC236}">
                <a16:creationId xmlns:a16="http://schemas.microsoft.com/office/drawing/2014/main" id="{F3097C31-51F2-D5F8-7426-0A669C9D933B}"/>
              </a:ext>
            </a:extLst>
          </p:cNvPr>
          <p:cNvCxnSpPr>
            <a:cxnSpLocks/>
          </p:cNvCxnSpPr>
          <p:nvPr/>
        </p:nvCxnSpPr>
        <p:spPr>
          <a:xfrm>
            <a:off x="1100137" y="4082226"/>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BDC99A0B-8AB3-4918-5B31-2F9C4926A28C}"/>
              </a:ext>
            </a:extLst>
          </p:cNvPr>
          <p:cNvSpPr/>
          <p:nvPr/>
        </p:nvSpPr>
        <p:spPr>
          <a:xfrm>
            <a:off x="1100138" y="5254344"/>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Only use your mobile phone in emergencies and only call 1 1 2 in situations where life or health is at risk. In the event of prolonged power cuts, you will need a mobile phone to contact and get help.</a:t>
            </a:r>
            <a:endParaRPr lang="lv-LV" sz="1200" b="1" i="0" dirty="0">
              <a:solidFill>
                <a:schemeClr val="tx1"/>
              </a:solidFill>
              <a:effectLst/>
            </a:endParaRPr>
          </a:p>
        </p:txBody>
      </p:sp>
      <p:cxnSp>
        <p:nvCxnSpPr>
          <p:cNvPr id="31" name="Straight Connector 30">
            <a:extLst>
              <a:ext uri="{FF2B5EF4-FFF2-40B4-BE49-F238E27FC236}">
                <a16:creationId xmlns:a16="http://schemas.microsoft.com/office/drawing/2014/main" id="{A23283C8-AC46-8F65-599C-AE50F7F5ECCA}"/>
              </a:ext>
            </a:extLst>
          </p:cNvPr>
          <p:cNvCxnSpPr>
            <a:cxnSpLocks/>
          </p:cNvCxnSpPr>
          <p:nvPr/>
        </p:nvCxnSpPr>
        <p:spPr>
          <a:xfrm>
            <a:off x="1100137" y="5167604"/>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42FDFF0-C1EF-2DFC-03F4-C85494893547}"/>
              </a:ext>
            </a:extLst>
          </p:cNvPr>
          <p:cNvSpPr/>
          <p:nvPr/>
        </p:nvSpPr>
        <p:spPr>
          <a:xfrm>
            <a:off x="1100137" y="5776200"/>
            <a:ext cx="10648950" cy="37306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To protect your electrical installations from the effects of short-term voltage interruptions, you can use uninterruptible power supplies - UPS - to keep various electrical appliances running during power cuts.</a:t>
            </a:r>
            <a:endParaRPr lang="lv-LV" sz="1200" b="0" i="0" dirty="0">
              <a:solidFill>
                <a:schemeClr val="tx1"/>
              </a:solidFill>
              <a:effectLst/>
            </a:endParaRPr>
          </a:p>
        </p:txBody>
      </p:sp>
      <p:cxnSp>
        <p:nvCxnSpPr>
          <p:cNvPr id="4" name="Straight Connector 3">
            <a:extLst>
              <a:ext uri="{FF2B5EF4-FFF2-40B4-BE49-F238E27FC236}">
                <a16:creationId xmlns:a16="http://schemas.microsoft.com/office/drawing/2014/main" id="{A34C0450-1485-CB4E-D4F8-1B9D567AB1FF}"/>
              </a:ext>
            </a:extLst>
          </p:cNvPr>
          <p:cNvCxnSpPr>
            <a:cxnSpLocks/>
          </p:cNvCxnSpPr>
          <p:nvPr/>
        </p:nvCxnSpPr>
        <p:spPr>
          <a:xfrm>
            <a:off x="1100137" y="4624915"/>
            <a:ext cx="10648950"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6" name="Rectangle 25">
            <a:extLst>
              <a:ext uri="{FF2B5EF4-FFF2-40B4-BE49-F238E27FC236}">
                <a16:creationId xmlns:a16="http://schemas.microsoft.com/office/drawing/2014/main" id="{F0CB5772-83FD-A70A-A885-67FCEEE49754}"/>
              </a:ext>
            </a:extLst>
          </p:cNvPr>
          <p:cNvSpPr/>
          <p:nvPr/>
        </p:nvSpPr>
        <p:spPr>
          <a:xfrm>
            <a:off x="442913" y="361784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47" name="Rectangle 46">
            <a:extLst>
              <a:ext uri="{FF2B5EF4-FFF2-40B4-BE49-F238E27FC236}">
                <a16:creationId xmlns:a16="http://schemas.microsoft.com/office/drawing/2014/main" id="{DE28A1F8-05E1-2D2E-5F4B-FFE030D33C0D}"/>
              </a:ext>
            </a:extLst>
          </p:cNvPr>
          <p:cNvSpPr/>
          <p:nvPr/>
        </p:nvSpPr>
        <p:spPr>
          <a:xfrm>
            <a:off x="442913" y="415743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51" name="Rectangle 50">
            <a:extLst>
              <a:ext uri="{FF2B5EF4-FFF2-40B4-BE49-F238E27FC236}">
                <a16:creationId xmlns:a16="http://schemas.microsoft.com/office/drawing/2014/main" id="{459753F3-41F3-63B5-45E4-F3B58708C5B6}"/>
              </a:ext>
            </a:extLst>
          </p:cNvPr>
          <p:cNvSpPr/>
          <p:nvPr/>
        </p:nvSpPr>
        <p:spPr>
          <a:xfrm>
            <a:off x="442913" y="469702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15" name="Rectangle 14">
            <a:extLst>
              <a:ext uri="{FF2B5EF4-FFF2-40B4-BE49-F238E27FC236}">
                <a16:creationId xmlns:a16="http://schemas.microsoft.com/office/drawing/2014/main" id="{9E0E0D22-42F4-802B-FD44-EDC127F0142C}"/>
              </a:ext>
            </a:extLst>
          </p:cNvPr>
          <p:cNvSpPr/>
          <p:nvPr/>
        </p:nvSpPr>
        <p:spPr>
          <a:xfrm>
            <a:off x="442913" y="577620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34" name="Rectangle 33">
            <a:extLst>
              <a:ext uri="{FF2B5EF4-FFF2-40B4-BE49-F238E27FC236}">
                <a16:creationId xmlns:a16="http://schemas.microsoft.com/office/drawing/2014/main" id="{31E65DFA-47A0-4AD8-6B27-3C86CFB7284A}"/>
              </a:ext>
            </a:extLst>
          </p:cNvPr>
          <p:cNvSpPr/>
          <p:nvPr/>
        </p:nvSpPr>
        <p:spPr>
          <a:xfrm>
            <a:off x="442913" y="523661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9" name="L-Shape 8">
            <a:extLst>
              <a:ext uri="{FF2B5EF4-FFF2-40B4-BE49-F238E27FC236}">
                <a16:creationId xmlns:a16="http://schemas.microsoft.com/office/drawing/2014/main" id="{9EBB1D1E-6449-913E-E858-C48CC79A35B7}"/>
              </a:ext>
            </a:extLst>
          </p:cNvPr>
          <p:cNvSpPr/>
          <p:nvPr/>
        </p:nvSpPr>
        <p:spPr>
          <a:xfrm rot="13500000">
            <a:off x="559307" y="36794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11" name="L-Shape 10">
            <a:extLst>
              <a:ext uri="{FF2B5EF4-FFF2-40B4-BE49-F238E27FC236}">
                <a16:creationId xmlns:a16="http://schemas.microsoft.com/office/drawing/2014/main" id="{2699A53A-B3BD-81F5-62B1-E1AFB84CBAF9}"/>
              </a:ext>
            </a:extLst>
          </p:cNvPr>
          <p:cNvSpPr/>
          <p:nvPr/>
        </p:nvSpPr>
        <p:spPr>
          <a:xfrm rot="13500000">
            <a:off x="559307" y="47586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12" name="L-Shape 11">
            <a:extLst>
              <a:ext uri="{FF2B5EF4-FFF2-40B4-BE49-F238E27FC236}">
                <a16:creationId xmlns:a16="http://schemas.microsoft.com/office/drawing/2014/main" id="{EEEC8714-4554-535F-5536-4371C6F9A1BA}"/>
              </a:ext>
            </a:extLst>
          </p:cNvPr>
          <p:cNvSpPr/>
          <p:nvPr/>
        </p:nvSpPr>
        <p:spPr>
          <a:xfrm rot="13500000">
            <a:off x="559307" y="5837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13" name="L-Shape 12">
            <a:extLst>
              <a:ext uri="{FF2B5EF4-FFF2-40B4-BE49-F238E27FC236}">
                <a16:creationId xmlns:a16="http://schemas.microsoft.com/office/drawing/2014/main" id="{3F193BB6-564F-7ED4-20BE-73BF54343CE7}"/>
              </a:ext>
            </a:extLst>
          </p:cNvPr>
          <p:cNvSpPr/>
          <p:nvPr/>
        </p:nvSpPr>
        <p:spPr>
          <a:xfrm rot="13500000">
            <a:off x="559307" y="421904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16" name="L-Shape 15">
            <a:extLst>
              <a:ext uri="{FF2B5EF4-FFF2-40B4-BE49-F238E27FC236}">
                <a16:creationId xmlns:a16="http://schemas.microsoft.com/office/drawing/2014/main" id="{DE200739-7B25-E26F-EE8E-B08BBC35C608}"/>
              </a:ext>
            </a:extLst>
          </p:cNvPr>
          <p:cNvSpPr/>
          <p:nvPr/>
        </p:nvSpPr>
        <p:spPr>
          <a:xfrm rot="13500000">
            <a:off x="559307" y="529822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5" name="Rectangle 4">
            <a:extLst>
              <a:ext uri="{FF2B5EF4-FFF2-40B4-BE49-F238E27FC236}">
                <a16:creationId xmlns:a16="http://schemas.microsoft.com/office/drawing/2014/main" id="{82C91F83-6981-8B2A-FA3C-1F2F3ADFB9FD}"/>
              </a:ext>
            </a:extLst>
          </p:cNvPr>
          <p:cNvSpPr/>
          <p:nvPr/>
        </p:nvSpPr>
        <p:spPr>
          <a:xfrm>
            <a:off x="442913" y="1825292"/>
            <a:ext cx="576263" cy="93895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5" name="L-Shape 24">
            <a:extLst>
              <a:ext uri="{FF2B5EF4-FFF2-40B4-BE49-F238E27FC236}">
                <a16:creationId xmlns:a16="http://schemas.microsoft.com/office/drawing/2014/main" id="{73193CD6-27B5-A6F9-730A-EA354B870D72}"/>
              </a:ext>
            </a:extLst>
          </p:cNvPr>
          <p:cNvSpPr/>
          <p:nvPr/>
        </p:nvSpPr>
        <p:spPr>
          <a:xfrm rot="13500000">
            <a:off x="559307" y="2158383"/>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Rectangle 26">
            <a:extLst>
              <a:ext uri="{FF2B5EF4-FFF2-40B4-BE49-F238E27FC236}">
                <a16:creationId xmlns:a16="http://schemas.microsoft.com/office/drawing/2014/main" id="{776849C3-7FBF-04FF-D16B-8FA65D926E2D}"/>
              </a:ext>
            </a:extLst>
          </p:cNvPr>
          <p:cNvSpPr/>
          <p:nvPr/>
        </p:nvSpPr>
        <p:spPr>
          <a:xfrm>
            <a:off x="1100137" y="1825292"/>
            <a:ext cx="10648951" cy="93615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1" i="0" dirty="0">
                <a:solidFill>
                  <a:schemeClr val="tx1"/>
                </a:solidFill>
                <a:effectLst/>
              </a:rPr>
              <a:t>Electrical safety during storms </a:t>
            </a:r>
            <a:r>
              <a:rPr lang="en-gb" sz="1400" b="0" i="0" dirty="0">
                <a:solidFill>
                  <a:schemeClr val="tx1"/>
                </a:solidFill>
                <a:effectLst/>
              </a:rPr>
              <a:t>- if a wind-broken tree has fallen on your house and is interfering with the electricity supply, do not approach the damaged or broken power lines of the broken tree, but immediately contact "</a:t>
            </a:r>
            <a:r>
              <a:rPr lang="en-gb" sz="1400" b="0" i="0" dirty="0" err="1">
                <a:solidFill>
                  <a:schemeClr val="tx1"/>
                </a:solidFill>
                <a:effectLst/>
              </a:rPr>
              <a:t>Sadales</a:t>
            </a:r>
            <a:r>
              <a:rPr lang="en-gb" sz="1400" b="0" i="0" dirty="0">
                <a:solidFill>
                  <a:schemeClr val="tx1"/>
                </a:solidFill>
                <a:effectLst/>
              </a:rPr>
              <a:t> </a:t>
            </a:r>
            <a:r>
              <a:rPr lang="en-gb" sz="1400" b="0" i="0" dirty="0" err="1">
                <a:solidFill>
                  <a:schemeClr val="tx1"/>
                </a:solidFill>
                <a:effectLst/>
              </a:rPr>
              <a:t>tīkls</a:t>
            </a:r>
            <a:r>
              <a:rPr lang="en-gb" sz="1400" b="0" i="0" dirty="0">
                <a:solidFill>
                  <a:schemeClr val="tx1"/>
                </a:solidFill>
                <a:effectLst/>
              </a:rPr>
              <a:t>" Customer Service on the free phone number </a:t>
            </a:r>
            <a:r>
              <a:rPr lang="en-gb" sz="1400" b="1" i="0" dirty="0">
                <a:solidFill>
                  <a:schemeClr val="tx1"/>
                </a:solidFill>
                <a:effectLst/>
              </a:rPr>
              <a:t>8404</a:t>
            </a:r>
            <a:r>
              <a:rPr lang="en-gb" sz="1400" b="0" i="0" dirty="0">
                <a:solidFill>
                  <a:schemeClr val="tx1"/>
                </a:solidFill>
                <a:effectLst/>
              </a:rPr>
              <a:t> and inform about the situation.</a:t>
            </a:r>
          </a:p>
        </p:txBody>
      </p:sp>
      <p:grpSp>
        <p:nvGrpSpPr>
          <p:cNvPr id="3" name="Group 2">
            <a:extLst>
              <a:ext uri="{FF2B5EF4-FFF2-40B4-BE49-F238E27FC236}">
                <a16:creationId xmlns:a16="http://schemas.microsoft.com/office/drawing/2014/main" id="{446F6A7E-AA1D-9658-5823-5CD012725542}"/>
              </a:ext>
            </a:extLst>
          </p:cNvPr>
          <p:cNvGrpSpPr/>
          <p:nvPr/>
        </p:nvGrpSpPr>
        <p:grpSpPr>
          <a:xfrm>
            <a:off x="9190780" y="159786"/>
            <a:ext cx="2558308" cy="217488"/>
            <a:chOff x="9190780" y="159786"/>
            <a:chExt cx="2558308" cy="217488"/>
          </a:xfrm>
        </p:grpSpPr>
        <p:sp>
          <p:nvSpPr>
            <p:cNvPr id="6" name="Rectangle 5">
              <a:extLst>
                <a:ext uri="{FF2B5EF4-FFF2-40B4-BE49-F238E27FC236}">
                  <a16:creationId xmlns:a16="http://schemas.microsoft.com/office/drawing/2014/main" id="{096E91D4-AAEB-BD5D-6433-E6C4E294326F}"/>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A025DECA-5DC1-B706-0613-B1D7B39F8441}"/>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D9A36C8F-E216-95D9-07E7-D7D83F8256C6}"/>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F3117E43-6D8D-668C-9673-B6470619C668}"/>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403530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4ECA4EC1-4AF7-B0A9-BC88-A57CE40175C6}"/>
              </a:ext>
            </a:extLst>
          </p:cNvPr>
          <p:cNvGraphicFramePr>
            <a:graphicFrameLocks noChangeAspect="1"/>
          </p:cNvGraphicFramePr>
          <p:nvPr>
            <p:custDataLst>
              <p:tags r:id="rId1"/>
            </p:custDataLst>
            <p:extLst>
              <p:ext uri="{D42A27DB-BD31-4B8C-83A1-F6EECF244321}">
                <p14:modId xmlns:p14="http://schemas.microsoft.com/office/powerpoint/2010/main" val="106657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49" name="think-cell data - do not delete" hidden="1">
                        <a:extLst>
                          <a:ext uri="{FF2B5EF4-FFF2-40B4-BE49-F238E27FC236}">
                            <a16:creationId xmlns:a16="http://schemas.microsoft.com/office/drawing/2014/main" id="{4ECA4EC1-4AF7-B0A9-BC88-A57CE4017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4338437" y="1819275"/>
            <a:ext cx="41513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Heat:</a:t>
            </a:r>
          </a:p>
        </p:txBody>
      </p:sp>
      <p:sp>
        <p:nvSpPr>
          <p:cNvPr id="69" name="Rectangle 68">
            <a:extLst>
              <a:ext uri="{FF2B5EF4-FFF2-40B4-BE49-F238E27FC236}">
                <a16:creationId xmlns:a16="http://schemas.microsoft.com/office/drawing/2014/main" id="{6F441B59-1EA1-79F9-2301-6600202372C1}"/>
              </a:ext>
            </a:extLst>
          </p:cNvPr>
          <p:cNvSpPr/>
          <p:nvPr/>
        </p:nvSpPr>
        <p:spPr>
          <a:xfrm>
            <a:off x="7913749"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5" name="Google Shape;1047;p85">
            <a:extLst>
              <a:ext uri="{FF2B5EF4-FFF2-40B4-BE49-F238E27FC236}">
                <a16:creationId xmlns:a16="http://schemas.microsoft.com/office/drawing/2014/main" id="{14D02773-A121-524D-61FF-DF21F9526553}"/>
              </a:ext>
            </a:extLst>
          </p:cNvPr>
          <p:cNvSpPr/>
          <p:nvPr/>
        </p:nvSpPr>
        <p:spPr>
          <a:xfrm>
            <a:off x="8021386" y="1927275"/>
            <a:ext cx="360363" cy="361950"/>
          </a:xfrm>
          <a:custGeom>
            <a:avLst/>
            <a:gdLst/>
            <a:ahLst/>
            <a:cxnLst/>
            <a:rect l="l" t="t" r="r" b="b"/>
            <a:pathLst>
              <a:path w="456085" h="455929" extrusionOk="0">
                <a:moveTo>
                  <a:pt x="274633" y="311330"/>
                </a:moveTo>
                <a:cubicBezTo>
                  <a:pt x="298853" y="335811"/>
                  <a:pt x="298632" y="375284"/>
                  <a:pt x="274142" y="399493"/>
                </a:cubicBezTo>
                <a:cubicBezTo>
                  <a:pt x="249653" y="423705"/>
                  <a:pt x="210170" y="423486"/>
                  <a:pt x="185950" y="399005"/>
                </a:cubicBezTo>
                <a:cubicBezTo>
                  <a:pt x="161920" y="374717"/>
                  <a:pt x="161920" y="335618"/>
                  <a:pt x="185950" y="311330"/>
                </a:cubicBezTo>
                <a:lnTo>
                  <a:pt x="185950" y="143966"/>
                </a:lnTo>
                <a:cubicBezTo>
                  <a:pt x="185950" y="85645"/>
                  <a:pt x="274633" y="85645"/>
                  <a:pt x="274633" y="143966"/>
                </a:cubicBezTo>
                <a:close/>
                <a:moveTo>
                  <a:pt x="249105" y="138964"/>
                </a:moveTo>
                <a:lnTo>
                  <a:pt x="249105" y="323362"/>
                </a:lnTo>
                <a:cubicBezTo>
                  <a:pt x="266471" y="333855"/>
                  <a:pt x="272039" y="356433"/>
                  <a:pt x="261546" y="373793"/>
                </a:cubicBezTo>
                <a:cubicBezTo>
                  <a:pt x="251050" y="391153"/>
                  <a:pt x="228464" y="396719"/>
                  <a:pt x="211098" y="386227"/>
                </a:cubicBezTo>
                <a:cubicBezTo>
                  <a:pt x="193732" y="375737"/>
                  <a:pt x="188164" y="353159"/>
                  <a:pt x="198657" y="335799"/>
                </a:cubicBezTo>
                <a:cubicBezTo>
                  <a:pt x="201736" y="330708"/>
                  <a:pt x="206005" y="326440"/>
                  <a:pt x="211098" y="323362"/>
                </a:cubicBezTo>
                <a:lnTo>
                  <a:pt x="211098" y="138964"/>
                </a:lnTo>
                <a:close/>
                <a:moveTo>
                  <a:pt x="262946" y="320006"/>
                </a:moveTo>
                <a:cubicBezTo>
                  <a:pt x="261188" y="318600"/>
                  <a:pt x="260172" y="316463"/>
                  <a:pt x="260191" y="314212"/>
                </a:cubicBezTo>
                <a:lnTo>
                  <a:pt x="260191" y="143966"/>
                </a:lnTo>
                <a:cubicBezTo>
                  <a:pt x="260191" y="104547"/>
                  <a:pt x="200013" y="104547"/>
                  <a:pt x="200013" y="143966"/>
                </a:cubicBezTo>
                <a:lnTo>
                  <a:pt x="200013" y="314212"/>
                </a:lnTo>
                <a:lnTo>
                  <a:pt x="200013" y="314212"/>
                </a:lnTo>
                <a:cubicBezTo>
                  <a:pt x="200013" y="316118"/>
                  <a:pt x="199208" y="317935"/>
                  <a:pt x="197796" y="319214"/>
                </a:cubicBezTo>
                <a:cubicBezTo>
                  <a:pt x="178162" y="337084"/>
                  <a:pt x="176736" y="367483"/>
                  <a:pt x="194612" y="387110"/>
                </a:cubicBezTo>
                <a:cubicBezTo>
                  <a:pt x="212492" y="406737"/>
                  <a:pt x="242900" y="408162"/>
                  <a:pt x="262534" y="390292"/>
                </a:cubicBezTo>
                <a:cubicBezTo>
                  <a:pt x="282168" y="372422"/>
                  <a:pt x="283590" y="342024"/>
                  <a:pt x="265714" y="322396"/>
                </a:cubicBezTo>
                <a:cubicBezTo>
                  <a:pt x="265711" y="322390"/>
                  <a:pt x="265705" y="322387"/>
                  <a:pt x="265702" y="322380"/>
                </a:cubicBezTo>
                <a:cubicBezTo>
                  <a:pt x="264846" y="321462"/>
                  <a:pt x="263960" y="320544"/>
                  <a:pt x="263041" y="319658"/>
                </a:cubicBezTo>
                <a:close/>
                <a:moveTo>
                  <a:pt x="224116" y="39767"/>
                </a:moveTo>
                <a:lnTo>
                  <a:pt x="224116" y="83397"/>
                </a:lnTo>
                <a:lnTo>
                  <a:pt x="238368" y="83397"/>
                </a:lnTo>
                <a:lnTo>
                  <a:pt x="238368" y="39767"/>
                </a:lnTo>
                <a:close/>
                <a:moveTo>
                  <a:pt x="333576" y="141718"/>
                </a:moveTo>
                <a:lnTo>
                  <a:pt x="289931" y="141718"/>
                </a:lnTo>
                <a:lnTo>
                  <a:pt x="289931" y="155934"/>
                </a:lnTo>
                <a:lnTo>
                  <a:pt x="333576" y="155934"/>
                </a:lnTo>
                <a:close/>
                <a:moveTo>
                  <a:pt x="321699" y="93117"/>
                </a:moveTo>
                <a:lnTo>
                  <a:pt x="282488" y="112115"/>
                </a:lnTo>
                <a:lnTo>
                  <a:pt x="288823" y="124779"/>
                </a:lnTo>
                <a:lnTo>
                  <a:pt x="328033" y="105782"/>
                </a:lnTo>
                <a:close/>
                <a:moveTo>
                  <a:pt x="283090" y="52749"/>
                </a:moveTo>
                <a:lnTo>
                  <a:pt x="259145" y="89128"/>
                </a:lnTo>
                <a:lnTo>
                  <a:pt x="271023" y="97012"/>
                </a:lnTo>
                <a:lnTo>
                  <a:pt x="295125" y="60601"/>
                </a:lnTo>
                <a:close/>
                <a:moveTo>
                  <a:pt x="126374" y="153813"/>
                </a:moveTo>
                <a:lnTo>
                  <a:pt x="170019" y="153813"/>
                </a:lnTo>
                <a:lnTo>
                  <a:pt x="170019" y="139565"/>
                </a:lnTo>
                <a:lnTo>
                  <a:pt x="126374" y="139565"/>
                </a:lnTo>
                <a:close/>
                <a:moveTo>
                  <a:pt x="130713" y="105909"/>
                </a:moveTo>
                <a:lnTo>
                  <a:pt x="169955" y="124906"/>
                </a:lnTo>
                <a:lnTo>
                  <a:pt x="176290" y="112241"/>
                </a:lnTo>
                <a:lnTo>
                  <a:pt x="137079" y="93244"/>
                </a:lnTo>
                <a:close/>
                <a:moveTo>
                  <a:pt x="166281" y="60601"/>
                </a:moveTo>
                <a:lnTo>
                  <a:pt x="190353" y="97012"/>
                </a:lnTo>
                <a:lnTo>
                  <a:pt x="202261" y="89128"/>
                </a:lnTo>
                <a:lnTo>
                  <a:pt x="178159" y="52749"/>
                </a:lnTo>
                <a:close/>
                <a:moveTo>
                  <a:pt x="0" y="0"/>
                </a:moveTo>
                <a:lnTo>
                  <a:pt x="0" y="455930"/>
                </a:lnTo>
                <a:lnTo>
                  <a:pt x="456086" y="455930"/>
                </a:lnTo>
                <a:lnTo>
                  <a:pt x="456086" y="0"/>
                </a:lnTo>
                <a:close/>
                <a:moveTo>
                  <a:pt x="436512" y="436426"/>
                </a:moveTo>
                <a:lnTo>
                  <a:pt x="19447" y="436426"/>
                </a:lnTo>
                <a:lnTo>
                  <a:pt x="19447" y="19440"/>
                </a:lnTo>
                <a:lnTo>
                  <a:pt x="436512" y="19440"/>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32" name="Rectangle 31">
            <a:extLst>
              <a:ext uri="{FF2B5EF4-FFF2-40B4-BE49-F238E27FC236}">
                <a16:creationId xmlns:a16="http://schemas.microsoft.com/office/drawing/2014/main" id="{94D74FF9-3F66-8CB9-4846-35CDEBE3E6D0}"/>
              </a:ext>
            </a:extLst>
          </p:cNvPr>
          <p:cNvSpPr/>
          <p:nvPr/>
        </p:nvSpPr>
        <p:spPr>
          <a:xfrm>
            <a:off x="8841971" y="1815438"/>
            <a:ext cx="290711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solidFill>
                  <a:schemeClr val="tx1"/>
                </a:solidFill>
              </a:rPr>
              <a:t>Severe drought:</a:t>
            </a:r>
          </a:p>
        </p:txBody>
      </p:sp>
      <p:sp>
        <p:nvSpPr>
          <p:cNvPr id="44" name="Rectangle 43">
            <a:extLst>
              <a:ext uri="{FF2B5EF4-FFF2-40B4-BE49-F238E27FC236}">
                <a16:creationId xmlns:a16="http://schemas.microsoft.com/office/drawing/2014/main" id="{5172E8FF-DAC1-6617-58ED-997BC699D3A9}"/>
              </a:ext>
            </a:extLst>
          </p:cNvPr>
          <p:cNvSpPr/>
          <p:nvPr/>
        </p:nvSpPr>
        <p:spPr>
          <a:xfrm>
            <a:off x="11176354" y="1815438"/>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3" name="Google Shape;1046;p85">
            <a:extLst>
              <a:ext uri="{FF2B5EF4-FFF2-40B4-BE49-F238E27FC236}">
                <a16:creationId xmlns:a16="http://schemas.microsoft.com/office/drawing/2014/main" id="{E2AB182A-689F-4D8E-EAA8-69C1B781D7C1}"/>
              </a:ext>
            </a:extLst>
          </p:cNvPr>
          <p:cNvSpPr/>
          <p:nvPr/>
        </p:nvSpPr>
        <p:spPr>
          <a:xfrm>
            <a:off x="11283991" y="1923256"/>
            <a:ext cx="360363" cy="360363"/>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249463"/>
                </a:lnTo>
                <a:lnTo>
                  <a:pt x="136350" y="249463"/>
                </a:lnTo>
                <a:lnTo>
                  <a:pt x="133532" y="278244"/>
                </a:lnTo>
                <a:lnTo>
                  <a:pt x="87290" y="298349"/>
                </a:lnTo>
                <a:lnTo>
                  <a:pt x="51373" y="373704"/>
                </a:lnTo>
                <a:lnTo>
                  <a:pt x="68508" y="381905"/>
                </a:lnTo>
                <a:lnTo>
                  <a:pt x="101384" y="312977"/>
                </a:lnTo>
                <a:lnTo>
                  <a:pt x="151363" y="291257"/>
                </a:lnTo>
                <a:lnTo>
                  <a:pt x="155449" y="249495"/>
                </a:lnTo>
                <a:lnTo>
                  <a:pt x="191936" y="249495"/>
                </a:lnTo>
                <a:lnTo>
                  <a:pt x="181357" y="293505"/>
                </a:lnTo>
                <a:lnTo>
                  <a:pt x="138631" y="345747"/>
                </a:lnTo>
                <a:lnTo>
                  <a:pt x="153327" y="357747"/>
                </a:lnTo>
                <a:lnTo>
                  <a:pt x="187914" y="315510"/>
                </a:lnTo>
                <a:lnTo>
                  <a:pt x="197700" y="339478"/>
                </a:lnTo>
                <a:lnTo>
                  <a:pt x="154974" y="391688"/>
                </a:lnTo>
                <a:lnTo>
                  <a:pt x="169670" y="403719"/>
                </a:lnTo>
                <a:lnTo>
                  <a:pt x="219554" y="342770"/>
                </a:lnTo>
                <a:lnTo>
                  <a:pt x="200234" y="295721"/>
                </a:lnTo>
                <a:lnTo>
                  <a:pt x="211351" y="249463"/>
                </a:lnTo>
                <a:lnTo>
                  <a:pt x="237893" y="249463"/>
                </a:lnTo>
                <a:lnTo>
                  <a:pt x="231274" y="296956"/>
                </a:lnTo>
                <a:lnTo>
                  <a:pt x="275140" y="321240"/>
                </a:lnTo>
                <a:lnTo>
                  <a:pt x="293067" y="405873"/>
                </a:lnTo>
                <a:lnTo>
                  <a:pt x="311659" y="401946"/>
                </a:lnTo>
                <a:lnTo>
                  <a:pt x="292085" y="308861"/>
                </a:lnTo>
                <a:lnTo>
                  <a:pt x="252082" y="286698"/>
                </a:lnTo>
                <a:lnTo>
                  <a:pt x="257245" y="249495"/>
                </a:lnTo>
                <a:lnTo>
                  <a:pt x="314477" y="249495"/>
                </a:lnTo>
                <a:lnTo>
                  <a:pt x="304184" y="272513"/>
                </a:lnTo>
                <a:lnTo>
                  <a:pt x="359136" y="309494"/>
                </a:lnTo>
                <a:lnTo>
                  <a:pt x="364932" y="331024"/>
                </a:lnTo>
                <a:lnTo>
                  <a:pt x="336427" y="374749"/>
                </a:lnTo>
                <a:lnTo>
                  <a:pt x="352263" y="385102"/>
                </a:lnTo>
                <a:lnTo>
                  <a:pt x="371520" y="355625"/>
                </a:lnTo>
                <a:lnTo>
                  <a:pt x="383239" y="399129"/>
                </a:lnTo>
                <a:lnTo>
                  <a:pt x="401609" y="394189"/>
                </a:lnTo>
                <a:lnTo>
                  <a:pt x="375574" y="297684"/>
                </a:lnTo>
                <a:lnTo>
                  <a:pt x="328065" y="265674"/>
                </a:lnTo>
                <a:lnTo>
                  <a:pt x="335286" y="249495"/>
                </a:lnTo>
                <a:lnTo>
                  <a:pt x="436639" y="249495"/>
                </a:lnTo>
                <a:close/>
                <a:moveTo>
                  <a:pt x="125772" y="178731"/>
                </a:moveTo>
                <a:lnTo>
                  <a:pt x="109366" y="151723"/>
                </a:lnTo>
                <a:lnTo>
                  <a:pt x="140563" y="156567"/>
                </a:lnTo>
                <a:cubicBezTo>
                  <a:pt x="147087" y="157568"/>
                  <a:pt x="153169" y="153097"/>
                  <a:pt x="154182" y="146581"/>
                </a:cubicBezTo>
                <a:cubicBezTo>
                  <a:pt x="154372" y="145391"/>
                  <a:pt x="154372" y="144178"/>
                  <a:pt x="154182" y="142985"/>
                </a:cubicBezTo>
                <a:lnTo>
                  <a:pt x="149337" y="111766"/>
                </a:lnTo>
                <a:lnTo>
                  <a:pt x="176353" y="128167"/>
                </a:lnTo>
                <a:cubicBezTo>
                  <a:pt x="181991" y="131574"/>
                  <a:pt x="189307" y="129775"/>
                  <a:pt x="192696" y="124152"/>
                </a:cubicBezTo>
                <a:cubicBezTo>
                  <a:pt x="193329" y="123120"/>
                  <a:pt x="193805" y="121996"/>
                  <a:pt x="194090" y="120821"/>
                </a:cubicBezTo>
                <a:lnTo>
                  <a:pt x="201596" y="90141"/>
                </a:lnTo>
                <a:lnTo>
                  <a:pt x="220251" y="115470"/>
                </a:lnTo>
                <a:cubicBezTo>
                  <a:pt x="224147" y="120777"/>
                  <a:pt x="231590" y="121933"/>
                  <a:pt x="236879" y="118051"/>
                </a:cubicBezTo>
                <a:cubicBezTo>
                  <a:pt x="237893" y="117329"/>
                  <a:pt x="238748" y="116458"/>
                  <a:pt x="239477" y="115470"/>
                </a:cubicBezTo>
                <a:lnTo>
                  <a:pt x="258132" y="90141"/>
                </a:lnTo>
                <a:lnTo>
                  <a:pt x="265607" y="120821"/>
                </a:lnTo>
                <a:cubicBezTo>
                  <a:pt x="267190" y="127220"/>
                  <a:pt x="273652" y="131124"/>
                  <a:pt x="280081" y="129538"/>
                </a:cubicBezTo>
                <a:cubicBezTo>
                  <a:pt x="281221" y="129250"/>
                  <a:pt x="282362" y="128787"/>
                  <a:pt x="283375" y="128167"/>
                </a:cubicBezTo>
                <a:lnTo>
                  <a:pt x="310360" y="111766"/>
                </a:lnTo>
                <a:lnTo>
                  <a:pt x="305514" y="142985"/>
                </a:lnTo>
                <a:cubicBezTo>
                  <a:pt x="304564" y="149523"/>
                  <a:pt x="309061" y="155608"/>
                  <a:pt x="315618" y="156571"/>
                </a:cubicBezTo>
                <a:cubicBezTo>
                  <a:pt x="316790" y="156745"/>
                  <a:pt x="317962" y="156742"/>
                  <a:pt x="319133" y="156567"/>
                </a:cubicBezTo>
                <a:lnTo>
                  <a:pt x="350331" y="151723"/>
                </a:lnTo>
                <a:lnTo>
                  <a:pt x="333924" y="178699"/>
                </a:lnTo>
                <a:cubicBezTo>
                  <a:pt x="330504" y="184316"/>
                  <a:pt x="332277" y="191639"/>
                  <a:pt x="337915" y="195059"/>
                </a:cubicBezTo>
                <a:cubicBezTo>
                  <a:pt x="338960" y="195698"/>
                  <a:pt x="340101" y="196173"/>
                  <a:pt x="341304" y="196461"/>
                </a:cubicBezTo>
                <a:lnTo>
                  <a:pt x="371963" y="203965"/>
                </a:lnTo>
                <a:lnTo>
                  <a:pt x="346625" y="222614"/>
                </a:lnTo>
                <a:cubicBezTo>
                  <a:pt x="343585" y="224837"/>
                  <a:pt x="341779" y="228354"/>
                  <a:pt x="341748" y="232113"/>
                </a:cubicBezTo>
                <a:lnTo>
                  <a:pt x="312260" y="232113"/>
                </a:lnTo>
                <a:cubicBezTo>
                  <a:pt x="312260" y="186649"/>
                  <a:pt x="275393" y="149792"/>
                  <a:pt x="229911" y="149792"/>
                </a:cubicBezTo>
                <a:cubicBezTo>
                  <a:pt x="184430" y="149792"/>
                  <a:pt x="147563" y="186649"/>
                  <a:pt x="147563" y="232113"/>
                </a:cubicBezTo>
                <a:lnTo>
                  <a:pt x="118107" y="232113"/>
                </a:lnTo>
                <a:cubicBezTo>
                  <a:pt x="118076" y="228361"/>
                  <a:pt x="116270" y="224840"/>
                  <a:pt x="113261" y="222614"/>
                </a:cubicBezTo>
                <a:lnTo>
                  <a:pt x="87923" y="203965"/>
                </a:lnTo>
                <a:lnTo>
                  <a:pt x="118614" y="196461"/>
                </a:lnTo>
                <a:cubicBezTo>
                  <a:pt x="125012" y="194894"/>
                  <a:pt x="128907" y="188448"/>
                  <a:pt x="127355" y="182062"/>
                </a:cubicBezTo>
                <a:cubicBezTo>
                  <a:pt x="127039" y="180887"/>
                  <a:pt x="126595" y="179766"/>
                  <a:pt x="125962" y="178731"/>
                </a:cubicBezTo>
                <a:close/>
                <a:moveTo>
                  <a:pt x="292592" y="230434"/>
                </a:moveTo>
                <a:lnTo>
                  <a:pt x="167105" y="230434"/>
                </a:lnTo>
                <a:cubicBezTo>
                  <a:pt x="168213" y="195793"/>
                  <a:pt x="197194" y="168605"/>
                  <a:pt x="231843" y="169707"/>
                </a:cubicBezTo>
                <a:cubicBezTo>
                  <a:pt x="264942" y="170758"/>
                  <a:pt x="291546" y="197342"/>
                  <a:pt x="292592" y="230434"/>
                </a:cubicBezTo>
                <a:close/>
                <a:moveTo>
                  <a:pt x="436639" y="230434"/>
                </a:moveTo>
                <a:lnTo>
                  <a:pt x="368796" y="230434"/>
                </a:lnTo>
                <a:lnTo>
                  <a:pt x="396605" y="210076"/>
                </a:lnTo>
                <a:cubicBezTo>
                  <a:pt x="401926" y="206197"/>
                  <a:pt x="403066" y="198750"/>
                  <a:pt x="399201" y="193441"/>
                </a:cubicBezTo>
                <a:cubicBezTo>
                  <a:pt x="397523" y="191168"/>
                  <a:pt x="395116" y="189559"/>
                  <a:pt x="392392" y="188894"/>
                </a:cubicBezTo>
                <a:lnTo>
                  <a:pt x="355937" y="179997"/>
                </a:lnTo>
                <a:lnTo>
                  <a:pt x="375416" y="147956"/>
                </a:lnTo>
                <a:cubicBezTo>
                  <a:pt x="378836" y="142339"/>
                  <a:pt x="377031" y="135015"/>
                  <a:pt x="371425" y="131599"/>
                </a:cubicBezTo>
                <a:cubicBezTo>
                  <a:pt x="369049" y="130146"/>
                  <a:pt x="366199" y="129582"/>
                  <a:pt x="363443" y="130003"/>
                </a:cubicBezTo>
                <a:lnTo>
                  <a:pt x="326354" y="135671"/>
                </a:lnTo>
                <a:lnTo>
                  <a:pt x="332087" y="98626"/>
                </a:lnTo>
                <a:cubicBezTo>
                  <a:pt x="333101" y="92129"/>
                  <a:pt x="328635" y="86044"/>
                  <a:pt x="322142" y="85034"/>
                </a:cubicBezTo>
                <a:cubicBezTo>
                  <a:pt x="319387" y="84600"/>
                  <a:pt x="316536" y="85164"/>
                  <a:pt x="314129" y="86627"/>
                </a:cubicBezTo>
                <a:lnTo>
                  <a:pt x="282076" y="106099"/>
                </a:lnTo>
                <a:lnTo>
                  <a:pt x="273208" y="69656"/>
                </a:lnTo>
                <a:cubicBezTo>
                  <a:pt x="271624" y="63260"/>
                  <a:pt x="265131" y="59366"/>
                  <a:pt x="258733" y="60958"/>
                </a:cubicBezTo>
                <a:cubicBezTo>
                  <a:pt x="256041" y="61626"/>
                  <a:pt x="253666" y="63213"/>
                  <a:pt x="252019" y="65445"/>
                </a:cubicBezTo>
                <a:lnTo>
                  <a:pt x="229848" y="95714"/>
                </a:lnTo>
                <a:lnTo>
                  <a:pt x="207677" y="65445"/>
                </a:lnTo>
                <a:cubicBezTo>
                  <a:pt x="203750" y="60148"/>
                  <a:pt x="196275" y="59033"/>
                  <a:pt x="190986" y="62956"/>
                </a:cubicBezTo>
                <a:cubicBezTo>
                  <a:pt x="188737" y="64609"/>
                  <a:pt x="187153" y="66990"/>
                  <a:pt x="186488" y="69687"/>
                </a:cubicBezTo>
                <a:lnTo>
                  <a:pt x="177588" y="106099"/>
                </a:lnTo>
                <a:lnTo>
                  <a:pt x="145536" y="86627"/>
                </a:lnTo>
                <a:cubicBezTo>
                  <a:pt x="141608" y="84265"/>
                  <a:pt x="136667" y="84375"/>
                  <a:pt x="132867" y="86911"/>
                </a:cubicBezTo>
                <a:cubicBezTo>
                  <a:pt x="129034" y="89492"/>
                  <a:pt x="127007" y="94051"/>
                  <a:pt x="127704" y="98626"/>
                </a:cubicBezTo>
                <a:lnTo>
                  <a:pt x="133437" y="135671"/>
                </a:lnTo>
                <a:lnTo>
                  <a:pt x="96380" y="129940"/>
                </a:lnTo>
                <a:cubicBezTo>
                  <a:pt x="89887" y="128930"/>
                  <a:pt x="83806" y="133375"/>
                  <a:pt x="82792" y="139872"/>
                </a:cubicBezTo>
                <a:cubicBezTo>
                  <a:pt x="82349" y="142649"/>
                  <a:pt x="82919" y="145492"/>
                  <a:pt x="84376" y="147892"/>
                </a:cubicBezTo>
                <a:lnTo>
                  <a:pt x="103854" y="179934"/>
                </a:lnTo>
                <a:lnTo>
                  <a:pt x="67431" y="188831"/>
                </a:lnTo>
                <a:cubicBezTo>
                  <a:pt x="61033" y="190411"/>
                  <a:pt x="57106" y="196879"/>
                  <a:pt x="58689" y="203281"/>
                </a:cubicBezTo>
                <a:cubicBezTo>
                  <a:pt x="59354" y="205979"/>
                  <a:pt x="60938" y="208360"/>
                  <a:pt x="63187" y="210013"/>
                </a:cubicBezTo>
                <a:lnTo>
                  <a:pt x="91027" y="230371"/>
                </a:lnTo>
                <a:lnTo>
                  <a:pt x="19542" y="230371"/>
                </a:lnTo>
                <a:lnTo>
                  <a:pt x="19542" y="19472"/>
                </a:lnTo>
                <a:lnTo>
                  <a:pt x="436734" y="19472"/>
                </a:lnTo>
                <a:close/>
              </a:path>
            </a:pathLst>
          </a:custGeom>
          <a:solidFill>
            <a:schemeClr val="tx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50" name="Rectangle 49">
            <a:extLst>
              <a:ext uri="{FF2B5EF4-FFF2-40B4-BE49-F238E27FC236}">
                <a16:creationId xmlns:a16="http://schemas.microsoft.com/office/drawing/2014/main" id="{1E384B44-88CC-8F76-E9AF-DBDBDD24EECE}"/>
              </a:ext>
            </a:extLst>
          </p:cNvPr>
          <p:cNvSpPr/>
          <p:nvPr/>
        </p:nvSpPr>
        <p:spPr>
          <a:xfrm>
            <a:off x="442914" y="1819275"/>
            <a:ext cx="35433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dirty="0"/>
              <a:t>Severe </a:t>
            </a:r>
            <a:r>
              <a:rPr lang="lv-LV" sz="1600" b="1" dirty="0" err="1"/>
              <a:t>cold</a:t>
            </a:r>
            <a:r>
              <a:rPr lang="en-gb" sz="1600" b="1" dirty="0"/>
              <a:t>:</a:t>
            </a:r>
          </a:p>
        </p:txBody>
      </p:sp>
      <p:grpSp>
        <p:nvGrpSpPr>
          <p:cNvPr id="27" name="Group 26">
            <a:extLst>
              <a:ext uri="{FF2B5EF4-FFF2-40B4-BE49-F238E27FC236}">
                <a16:creationId xmlns:a16="http://schemas.microsoft.com/office/drawing/2014/main" id="{4CEAA8DB-A63F-E641-A51A-25A1596C8521}"/>
              </a:ext>
            </a:extLst>
          </p:cNvPr>
          <p:cNvGrpSpPr/>
          <p:nvPr/>
        </p:nvGrpSpPr>
        <p:grpSpPr>
          <a:xfrm>
            <a:off x="3325037" y="1819275"/>
            <a:ext cx="646888" cy="576000"/>
            <a:chOff x="5269725" y="1819275"/>
            <a:chExt cx="646888" cy="576000"/>
          </a:xfrm>
        </p:grpSpPr>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Google Shape;1004;p85">
              <a:extLst>
                <a:ext uri="{FF2B5EF4-FFF2-40B4-BE49-F238E27FC236}">
                  <a16:creationId xmlns:a16="http://schemas.microsoft.com/office/drawing/2014/main" id="{3496E54A-8571-327D-7CD3-B8C3E789BD53}"/>
                </a:ext>
              </a:extLst>
            </p:cNvPr>
            <p:cNvSpPr/>
            <p:nvPr/>
          </p:nvSpPr>
          <p:spPr>
            <a:xfrm>
              <a:off x="5448267" y="1927235"/>
              <a:ext cx="360363" cy="360363"/>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29"/>
                  </a:lnTo>
                  <a:lnTo>
                    <a:pt x="673" y="29"/>
                  </a:lnTo>
                  <a:lnTo>
                    <a:pt x="673" y="674"/>
                  </a:lnTo>
                  <a:close/>
                  <a:moveTo>
                    <a:pt x="598" y="393"/>
                  </a:moveTo>
                  <a:lnTo>
                    <a:pt x="524" y="428"/>
                  </a:lnTo>
                  <a:lnTo>
                    <a:pt x="596" y="471"/>
                  </a:lnTo>
                  <a:lnTo>
                    <a:pt x="582" y="497"/>
                  </a:lnTo>
                  <a:lnTo>
                    <a:pt x="508" y="455"/>
                  </a:lnTo>
                  <a:lnTo>
                    <a:pt x="516" y="537"/>
                  </a:lnTo>
                  <a:lnTo>
                    <a:pt x="485" y="540"/>
                  </a:lnTo>
                  <a:lnTo>
                    <a:pt x="478" y="437"/>
                  </a:lnTo>
                  <a:lnTo>
                    <a:pt x="373" y="376"/>
                  </a:lnTo>
                  <a:lnTo>
                    <a:pt x="373" y="497"/>
                  </a:lnTo>
                  <a:lnTo>
                    <a:pt x="457" y="556"/>
                  </a:lnTo>
                  <a:lnTo>
                    <a:pt x="441" y="580"/>
                  </a:lnTo>
                  <a:lnTo>
                    <a:pt x="373" y="534"/>
                  </a:lnTo>
                  <a:lnTo>
                    <a:pt x="373" y="618"/>
                  </a:lnTo>
                  <a:lnTo>
                    <a:pt x="342" y="618"/>
                  </a:lnTo>
                  <a:lnTo>
                    <a:pt x="342" y="534"/>
                  </a:lnTo>
                  <a:lnTo>
                    <a:pt x="275" y="580"/>
                  </a:lnTo>
                  <a:lnTo>
                    <a:pt x="258" y="556"/>
                  </a:lnTo>
                  <a:lnTo>
                    <a:pt x="342" y="497"/>
                  </a:lnTo>
                  <a:lnTo>
                    <a:pt x="342" y="376"/>
                  </a:lnTo>
                  <a:lnTo>
                    <a:pt x="238" y="437"/>
                  </a:lnTo>
                  <a:lnTo>
                    <a:pt x="230" y="540"/>
                  </a:lnTo>
                  <a:lnTo>
                    <a:pt x="200" y="537"/>
                  </a:lnTo>
                  <a:lnTo>
                    <a:pt x="207" y="455"/>
                  </a:lnTo>
                  <a:lnTo>
                    <a:pt x="133" y="497"/>
                  </a:lnTo>
                  <a:lnTo>
                    <a:pt x="119" y="471"/>
                  </a:lnTo>
                  <a:lnTo>
                    <a:pt x="192" y="428"/>
                  </a:lnTo>
                  <a:lnTo>
                    <a:pt x="117" y="393"/>
                  </a:lnTo>
                  <a:lnTo>
                    <a:pt x="130" y="366"/>
                  </a:lnTo>
                  <a:lnTo>
                    <a:pt x="224" y="410"/>
                  </a:lnTo>
                  <a:lnTo>
                    <a:pt x="328" y="350"/>
                  </a:lnTo>
                  <a:lnTo>
                    <a:pt x="224" y="290"/>
                  </a:lnTo>
                  <a:lnTo>
                    <a:pt x="130" y="334"/>
                  </a:lnTo>
                  <a:lnTo>
                    <a:pt x="117" y="307"/>
                  </a:lnTo>
                  <a:lnTo>
                    <a:pt x="192" y="272"/>
                  </a:lnTo>
                  <a:lnTo>
                    <a:pt x="119" y="229"/>
                  </a:lnTo>
                  <a:lnTo>
                    <a:pt x="133" y="203"/>
                  </a:lnTo>
                  <a:lnTo>
                    <a:pt x="207" y="245"/>
                  </a:lnTo>
                  <a:lnTo>
                    <a:pt x="200" y="163"/>
                  </a:lnTo>
                  <a:lnTo>
                    <a:pt x="230" y="160"/>
                  </a:lnTo>
                  <a:lnTo>
                    <a:pt x="238" y="263"/>
                  </a:lnTo>
                  <a:lnTo>
                    <a:pt x="342" y="324"/>
                  </a:lnTo>
                  <a:lnTo>
                    <a:pt x="342" y="203"/>
                  </a:lnTo>
                  <a:lnTo>
                    <a:pt x="258" y="144"/>
                  </a:lnTo>
                  <a:lnTo>
                    <a:pt x="275" y="120"/>
                  </a:lnTo>
                  <a:lnTo>
                    <a:pt x="342" y="166"/>
                  </a:lnTo>
                  <a:lnTo>
                    <a:pt x="342" y="82"/>
                  </a:lnTo>
                  <a:lnTo>
                    <a:pt x="373" y="82"/>
                  </a:lnTo>
                  <a:lnTo>
                    <a:pt x="373" y="166"/>
                  </a:lnTo>
                  <a:lnTo>
                    <a:pt x="441" y="120"/>
                  </a:lnTo>
                  <a:lnTo>
                    <a:pt x="457" y="144"/>
                  </a:lnTo>
                  <a:lnTo>
                    <a:pt x="373" y="203"/>
                  </a:lnTo>
                  <a:lnTo>
                    <a:pt x="373" y="324"/>
                  </a:lnTo>
                  <a:lnTo>
                    <a:pt x="478" y="263"/>
                  </a:lnTo>
                  <a:lnTo>
                    <a:pt x="485" y="160"/>
                  </a:lnTo>
                  <a:lnTo>
                    <a:pt x="516" y="163"/>
                  </a:lnTo>
                  <a:lnTo>
                    <a:pt x="508" y="245"/>
                  </a:lnTo>
                  <a:lnTo>
                    <a:pt x="582" y="203"/>
                  </a:lnTo>
                  <a:lnTo>
                    <a:pt x="596" y="229"/>
                  </a:lnTo>
                  <a:lnTo>
                    <a:pt x="524" y="272"/>
                  </a:lnTo>
                  <a:lnTo>
                    <a:pt x="598" y="307"/>
                  </a:lnTo>
                  <a:lnTo>
                    <a:pt x="585" y="334"/>
                  </a:lnTo>
                  <a:lnTo>
                    <a:pt x="493" y="290"/>
                  </a:lnTo>
                  <a:lnTo>
                    <a:pt x="387" y="350"/>
                  </a:lnTo>
                  <a:lnTo>
                    <a:pt x="493" y="410"/>
                  </a:lnTo>
                  <a:lnTo>
                    <a:pt x="585" y="366"/>
                  </a:lnTo>
                  <a:lnTo>
                    <a:pt x="598" y="393"/>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a:solidFill>
                  <a:schemeClr val="dk1"/>
                </a:solidFill>
                <a:latin typeface="Arial"/>
                <a:ea typeface="Arial"/>
                <a:cs typeface="Arial"/>
                <a:sym typeface="Arial"/>
              </a:endParaRPr>
            </a:p>
          </p:txBody>
        </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dirty="0"/>
              <a:t>Severe </a:t>
            </a:r>
            <a:r>
              <a:rPr lang="lv-LV" dirty="0" err="1"/>
              <a:t>cold</a:t>
            </a:r>
            <a:r>
              <a:rPr lang="en-gb" dirty="0"/>
              <a:t>, heat, drought</a:t>
            </a:r>
            <a:br>
              <a:rPr lang="lv-LV" dirty="0"/>
            </a:br>
            <a:r>
              <a:rPr lang="en-gb" dirty="0">
                <a:solidFill>
                  <a:srgbClr val="A8192D"/>
                </a:solidFill>
              </a:rPr>
              <a:t>How to proceed?</a:t>
            </a:r>
            <a:endParaRPr lang="en-GB" dirty="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8074" y="3119572"/>
            <a:ext cx="7380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8075" y="4578256"/>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8075" y="5367561"/>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0" name="Rectangle 69">
            <a:extLst>
              <a:ext uri="{FF2B5EF4-FFF2-40B4-BE49-F238E27FC236}">
                <a16:creationId xmlns:a16="http://schemas.microsoft.com/office/drawing/2014/main" id="{5EEF3BF7-AEB5-348C-D976-FA94F1ADC99F}"/>
              </a:ext>
            </a:extLst>
          </p:cNvPr>
          <p:cNvSpPr/>
          <p:nvPr/>
        </p:nvSpPr>
        <p:spPr>
          <a:xfrm>
            <a:off x="7842861"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2" name="Rectangle 51">
            <a:extLst>
              <a:ext uri="{FF2B5EF4-FFF2-40B4-BE49-F238E27FC236}">
                <a16:creationId xmlns:a16="http://schemas.microsoft.com/office/drawing/2014/main" id="{54140961-D367-FFB1-E0FC-3F385487D472}"/>
              </a:ext>
            </a:extLst>
          </p:cNvPr>
          <p:cNvSpPr/>
          <p:nvPr/>
        </p:nvSpPr>
        <p:spPr>
          <a:xfrm>
            <a:off x="1107654" y="2538617"/>
            <a:ext cx="7434712" cy="4937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Listen to the warnings from meteorologists, keep an eye on the situation.</a:t>
            </a:r>
          </a:p>
        </p:txBody>
      </p:sp>
      <p:sp>
        <p:nvSpPr>
          <p:cNvPr id="40" name="Rectangle 39">
            <a:extLst>
              <a:ext uri="{FF2B5EF4-FFF2-40B4-BE49-F238E27FC236}">
                <a16:creationId xmlns:a16="http://schemas.microsoft.com/office/drawing/2014/main" id="{0397F1B3-1DAC-781B-5BE5-08FA024DC19C}"/>
              </a:ext>
            </a:extLst>
          </p:cNvPr>
          <p:cNvSpPr/>
          <p:nvPr/>
        </p:nvSpPr>
        <p:spPr>
          <a:xfrm>
            <a:off x="1107654" y="3208199"/>
            <a:ext cx="7382094" cy="4937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Follow the instructions and recommendations of the services, authorities and agencie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4" y="3878442"/>
            <a:ext cx="285442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Stay at home or indoor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4" y="4667747"/>
            <a:ext cx="285442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When going outdoors, dress appropriately for the weather (warm and comfortable clothes and shoes).</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4" y="5457440"/>
            <a:ext cx="2680575"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When moving around, consider your route to minimise the number of trees, power lines and other things that could break or fall from freezing.</a:t>
            </a:r>
          </a:p>
        </p:txBody>
      </p:sp>
      <p:grpSp>
        <p:nvGrpSpPr>
          <p:cNvPr id="45" name="Group 44">
            <a:extLst>
              <a:ext uri="{FF2B5EF4-FFF2-40B4-BE49-F238E27FC236}">
                <a16:creationId xmlns:a16="http://schemas.microsoft.com/office/drawing/2014/main" id="{C0B71D80-C725-2567-7AFD-7CC6FA03448F}"/>
              </a:ext>
            </a:extLst>
          </p:cNvPr>
          <p:cNvGrpSpPr/>
          <p:nvPr/>
        </p:nvGrpSpPr>
        <p:grpSpPr>
          <a:xfrm>
            <a:off x="442913" y="2538413"/>
            <a:ext cx="576263" cy="3633787"/>
            <a:chOff x="440299" y="2538413"/>
            <a:chExt cx="576263" cy="3633787"/>
          </a:xfrm>
        </p:grpSpPr>
        <p:sp>
          <p:nvSpPr>
            <p:cNvPr id="57" name="Rectangle 56">
              <a:extLst>
                <a:ext uri="{FF2B5EF4-FFF2-40B4-BE49-F238E27FC236}">
                  <a16:creationId xmlns:a16="http://schemas.microsoft.com/office/drawing/2014/main" id="{A073C5EE-5299-ADD0-94D7-3170276FA166}"/>
                </a:ext>
              </a:extLst>
            </p:cNvPr>
            <p:cNvSpPr/>
            <p:nvPr/>
          </p:nvSpPr>
          <p:spPr>
            <a:xfrm>
              <a:off x="440299" y="2538413"/>
              <a:ext cx="576263" cy="49412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6693" y="26490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0299" y="3208199"/>
              <a:ext cx="576263" cy="4937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6693" y="33186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0299" y="387844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6693" y="404805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0299" y="4667747"/>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6693" y="483735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0299" y="5457054"/>
              <a:ext cx="576263" cy="71514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6693" y="567823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3" name="Group 42">
            <a:extLst>
              <a:ext uri="{FF2B5EF4-FFF2-40B4-BE49-F238E27FC236}">
                <a16:creationId xmlns:a16="http://schemas.microsoft.com/office/drawing/2014/main" id="{D40D455F-7EAB-93DB-3538-03AD491F0434}"/>
              </a:ext>
            </a:extLst>
          </p:cNvPr>
          <p:cNvGrpSpPr/>
          <p:nvPr/>
        </p:nvGrpSpPr>
        <p:grpSpPr>
          <a:xfrm>
            <a:off x="4338437" y="3817650"/>
            <a:ext cx="4203929" cy="716548"/>
            <a:chOff x="4338437" y="3817650"/>
            <a:chExt cx="4203929" cy="716548"/>
          </a:xfrm>
        </p:grpSpPr>
        <p:sp>
          <p:nvSpPr>
            <p:cNvPr id="66" name="Rectangle 65">
              <a:extLst>
                <a:ext uri="{FF2B5EF4-FFF2-40B4-BE49-F238E27FC236}">
                  <a16:creationId xmlns:a16="http://schemas.microsoft.com/office/drawing/2014/main" id="{F013B6EF-6664-55FA-8A95-9B25B931D676}"/>
                </a:ext>
              </a:extLst>
            </p:cNvPr>
            <p:cNvSpPr/>
            <p:nvPr/>
          </p:nvSpPr>
          <p:spPr>
            <a:xfrm>
              <a:off x="5003799" y="3819823"/>
              <a:ext cx="3538567"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0" rIns="0" bIns="0" rtlCol="0" anchor="ctr">
              <a:noAutofit/>
            </a:bodyPr>
            <a:lstStyle/>
            <a:p>
              <a:pPr algn="l" rtl="0"/>
              <a:r>
                <a:rPr lang="en-gb" sz="1200" spc="-20">
                  <a:solidFill>
                    <a:srgbClr val="212529"/>
                  </a:solidFill>
                </a:rPr>
                <a:t>T</a:t>
              </a:r>
              <a:r>
                <a:rPr lang="en-gb" sz="1200" b="0" i="0" spc="-20">
                  <a:solidFill>
                    <a:srgbClr val="212529"/>
                  </a:solidFill>
                  <a:effectLst/>
                </a:rPr>
                <a:t>ry to be in ventilated/cooled living and working areas. Natural ventilation (opening windows) is best done in the evening, at night. During the day, close and cover windows to reduce indoor heating.</a:t>
              </a:r>
            </a:p>
          </p:txBody>
        </p:sp>
        <p:sp>
          <p:nvSpPr>
            <p:cNvPr id="95" name="Rectangle 94">
              <a:extLst>
                <a:ext uri="{FF2B5EF4-FFF2-40B4-BE49-F238E27FC236}">
                  <a16:creationId xmlns:a16="http://schemas.microsoft.com/office/drawing/2014/main" id="{443FAA3C-0F7C-AD6B-CBF1-68825DEE28EF}"/>
                </a:ext>
              </a:extLst>
            </p:cNvPr>
            <p:cNvSpPr/>
            <p:nvPr/>
          </p:nvSpPr>
          <p:spPr>
            <a:xfrm>
              <a:off x="4338437" y="3817650"/>
              <a:ext cx="576263" cy="71654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4454832" y="403953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5</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5003600" y="4610492"/>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DBBAF735-721D-F52F-3F37-FEC03949D8CB}"/>
              </a:ext>
            </a:extLst>
          </p:cNvPr>
          <p:cNvCxnSpPr>
            <a:cxnSpLocks/>
          </p:cNvCxnSpPr>
          <p:nvPr/>
        </p:nvCxnSpPr>
        <p:spPr>
          <a:xfrm>
            <a:off x="5003600" y="5378307"/>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36" name="Group 35">
            <a:extLst>
              <a:ext uri="{FF2B5EF4-FFF2-40B4-BE49-F238E27FC236}">
                <a16:creationId xmlns:a16="http://schemas.microsoft.com/office/drawing/2014/main" id="{E97C9AF6-EF2C-A21C-4DD3-147299422C04}"/>
              </a:ext>
            </a:extLst>
          </p:cNvPr>
          <p:cNvGrpSpPr/>
          <p:nvPr/>
        </p:nvGrpSpPr>
        <p:grpSpPr>
          <a:xfrm>
            <a:off x="4338860" y="4689238"/>
            <a:ext cx="4151090" cy="612775"/>
            <a:chOff x="4338860" y="4681088"/>
            <a:chExt cx="4151090" cy="612775"/>
          </a:xfrm>
        </p:grpSpPr>
        <p:sp>
          <p:nvSpPr>
            <p:cNvPr id="14" name="Rectangle 13">
              <a:extLst>
                <a:ext uri="{FF2B5EF4-FFF2-40B4-BE49-F238E27FC236}">
                  <a16:creationId xmlns:a16="http://schemas.microsoft.com/office/drawing/2014/main" id="{69CFE8AA-8BE2-A62E-A1B9-8B4AE9C53218}"/>
                </a:ext>
              </a:extLst>
            </p:cNvPr>
            <p:cNvSpPr/>
            <p:nvPr/>
          </p:nvSpPr>
          <p:spPr>
            <a:xfrm>
              <a:off x="5003800" y="4681088"/>
              <a:ext cx="34861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dirty="0">
                  <a:solidFill>
                    <a:schemeClr val="tx1"/>
                  </a:solidFill>
                  <a:effectLst/>
                </a:rPr>
                <a:t>Wear light, light, breathable clothes when going out. Use a light-coloured, thin-fabric headgear to prevent your head from getting hot.</a:t>
              </a:r>
            </a:p>
          </p:txBody>
        </p:sp>
        <p:sp>
          <p:nvSpPr>
            <p:cNvPr id="18" name="Rectangle 17">
              <a:extLst>
                <a:ext uri="{FF2B5EF4-FFF2-40B4-BE49-F238E27FC236}">
                  <a16:creationId xmlns:a16="http://schemas.microsoft.com/office/drawing/2014/main" id="{B8EA7805-296B-5D47-944C-D538156BAD89}"/>
                </a:ext>
              </a:extLst>
            </p:cNvPr>
            <p:cNvSpPr/>
            <p:nvPr/>
          </p:nvSpPr>
          <p:spPr>
            <a:xfrm>
              <a:off x="4338860" y="4681863"/>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4455254" y="485147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35" name="Group 34">
            <a:extLst>
              <a:ext uri="{FF2B5EF4-FFF2-40B4-BE49-F238E27FC236}">
                <a16:creationId xmlns:a16="http://schemas.microsoft.com/office/drawing/2014/main" id="{9D994D3C-0B5C-C04D-9328-A29560F062BC}"/>
              </a:ext>
            </a:extLst>
          </p:cNvPr>
          <p:cNvGrpSpPr/>
          <p:nvPr/>
        </p:nvGrpSpPr>
        <p:grpSpPr>
          <a:xfrm>
            <a:off x="4338437" y="5457054"/>
            <a:ext cx="4151513" cy="715146"/>
            <a:chOff x="4338437" y="5440363"/>
            <a:chExt cx="4151513" cy="715146"/>
          </a:xfrm>
        </p:grpSpPr>
        <p:sp>
          <p:nvSpPr>
            <p:cNvPr id="17" name="Rectangle 16">
              <a:extLst>
                <a:ext uri="{FF2B5EF4-FFF2-40B4-BE49-F238E27FC236}">
                  <a16:creationId xmlns:a16="http://schemas.microsoft.com/office/drawing/2014/main" id="{F910971B-2255-41F9-8303-8F4AF0AD11A8}"/>
                </a:ext>
              </a:extLst>
            </p:cNvPr>
            <p:cNvSpPr/>
            <p:nvPr/>
          </p:nvSpPr>
          <p:spPr>
            <a:xfrm>
              <a:off x="5003800" y="5440749"/>
              <a:ext cx="3486150" cy="7143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dirty="0">
                  <a:solidFill>
                    <a:srgbClr val="212529"/>
                  </a:solidFill>
                  <a:effectLst/>
                </a:rPr>
                <a:t>Take more fluids than usual. Do not drink alcohol, strong coffee or tea, as these drinks increase the dehydration of the body.</a:t>
              </a:r>
            </a:p>
          </p:txBody>
        </p:sp>
        <p:sp>
          <p:nvSpPr>
            <p:cNvPr id="21" name="Rectangle 20">
              <a:extLst>
                <a:ext uri="{FF2B5EF4-FFF2-40B4-BE49-F238E27FC236}">
                  <a16:creationId xmlns:a16="http://schemas.microsoft.com/office/drawing/2014/main" id="{B3BACB13-7F5F-7706-5C2F-1B17B9E4C0A1}"/>
                </a:ext>
              </a:extLst>
            </p:cNvPr>
            <p:cNvSpPr/>
            <p:nvPr/>
          </p:nvSpPr>
          <p:spPr>
            <a:xfrm>
              <a:off x="4338437" y="5440363"/>
              <a:ext cx="576263" cy="71514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2" name="L-Shape 21">
              <a:extLst>
                <a:ext uri="{FF2B5EF4-FFF2-40B4-BE49-F238E27FC236}">
                  <a16:creationId xmlns:a16="http://schemas.microsoft.com/office/drawing/2014/main" id="{23636E8D-78E7-BF51-1737-96A4E2EF4240}"/>
                </a:ext>
              </a:extLst>
            </p:cNvPr>
            <p:cNvSpPr/>
            <p:nvPr/>
          </p:nvSpPr>
          <p:spPr>
            <a:xfrm rot="13500000">
              <a:off x="4455254" y="5661548"/>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33" name="Rectangle 32">
            <a:extLst>
              <a:ext uri="{FF2B5EF4-FFF2-40B4-BE49-F238E27FC236}">
                <a16:creationId xmlns:a16="http://schemas.microsoft.com/office/drawing/2014/main" id="{A9EA678B-1C92-D1EC-5EF2-97D0A4907E68}"/>
              </a:ext>
            </a:extLst>
          </p:cNvPr>
          <p:cNvSpPr/>
          <p:nvPr/>
        </p:nvSpPr>
        <p:spPr>
          <a:xfrm>
            <a:off x="9485142" y="2536298"/>
            <a:ext cx="2263943" cy="72164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Do not build fires or throw smoke in forests, meadows or other places where fires can start.</a:t>
            </a:r>
          </a:p>
        </p:txBody>
      </p:sp>
      <p:grpSp>
        <p:nvGrpSpPr>
          <p:cNvPr id="39" name="Group 38">
            <a:extLst>
              <a:ext uri="{FF2B5EF4-FFF2-40B4-BE49-F238E27FC236}">
                <a16:creationId xmlns:a16="http://schemas.microsoft.com/office/drawing/2014/main" id="{EF0A4ABB-1F46-E212-1CC5-58ABC3934421}"/>
              </a:ext>
            </a:extLst>
          </p:cNvPr>
          <p:cNvGrpSpPr/>
          <p:nvPr/>
        </p:nvGrpSpPr>
        <p:grpSpPr>
          <a:xfrm>
            <a:off x="8841805" y="2537073"/>
            <a:ext cx="576263" cy="718418"/>
            <a:chOff x="4490838" y="2691060"/>
            <a:chExt cx="576263" cy="718418"/>
          </a:xfrm>
        </p:grpSpPr>
        <p:sp>
          <p:nvSpPr>
            <p:cNvPr id="37" name="Rectangle 36">
              <a:extLst>
                <a:ext uri="{FF2B5EF4-FFF2-40B4-BE49-F238E27FC236}">
                  <a16:creationId xmlns:a16="http://schemas.microsoft.com/office/drawing/2014/main" id="{7795EDCD-A1E3-81BC-D6E4-B8FD957AD217}"/>
                </a:ext>
              </a:extLst>
            </p:cNvPr>
            <p:cNvSpPr/>
            <p:nvPr/>
          </p:nvSpPr>
          <p:spPr>
            <a:xfrm>
              <a:off x="4490838" y="2691060"/>
              <a:ext cx="576263" cy="7184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8" name="L-Shape 37">
              <a:extLst>
                <a:ext uri="{FF2B5EF4-FFF2-40B4-BE49-F238E27FC236}">
                  <a16:creationId xmlns:a16="http://schemas.microsoft.com/office/drawing/2014/main" id="{B7F4C205-C186-DA71-F54C-8E2254F0C2E9}"/>
                </a:ext>
              </a:extLst>
            </p:cNvPr>
            <p:cNvSpPr/>
            <p:nvPr/>
          </p:nvSpPr>
          <p:spPr>
            <a:xfrm rot="13500000">
              <a:off x="4607232" y="291147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46" name="Rectangle 45">
            <a:extLst>
              <a:ext uri="{FF2B5EF4-FFF2-40B4-BE49-F238E27FC236}">
                <a16:creationId xmlns:a16="http://schemas.microsoft.com/office/drawing/2014/main" id="{7B585CBE-1C0D-4030-F280-A151893364AB}"/>
              </a:ext>
            </a:extLst>
          </p:cNvPr>
          <p:cNvSpPr/>
          <p:nvPr/>
        </p:nvSpPr>
        <p:spPr>
          <a:xfrm>
            <a:off x="11105466" y="1815438"/>
            <a:ext cx="72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pic>
        <p:nvPicPr>
          <p:cNvPr id="48" name="Picture 47">
            <a:extLst>
              <a:ext uri="{FF2B5EF4-FFF2-40B4-BE49-F238E27FC236}">
                <a16:creationId xmlns:a16="http://schemas.microsoft.com/office/drawing/2014/main" id="{D0D5CD67-37F4-6905-E498-EC207DE06ED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839358" y="3413188"/>
            <a:ext cx="2907116" cy="2759012"/>
          </a:xfrm>
          <a:prstGeom prst="rect">
            <a:avLst/>
          </a:prstGeom>
        </p:spPr>
      </p:pic>
      <p:grpSp>
        <p:nvGrpSpPr>
          <p:cNvPr id="10" name="Group 9">
            <a:extLst>
              <a:ext uri="{FF2B5EF4-FFF2-40B4-BE49-F238E27FC236}">
                <a16:creationId xmlns:a16="http://schemas.microsoft.com/office/drawing/2014/main" id="{09F0C88A-A266-2028-D8E6-15B5BDD50889}"/>
              </a:ext>
            </a:extLst>
          </p:cNvPr>
          <p:cNvGrpSpPr/>
          <p:nvPr/>
        </p:nvGrpSpPr>
        <p:grpSpPr>
          <a:xfrm>
            <a:off x="9190780" y="159786"/>
            <a:ext cx="2558308" cy="217488"/>
            <a:chOff x="9190780" y="159786"/>
            <a:chExt cx="2558308" cy="217488"/>
          </a:xfrm>
        </p:grpSpPr>
        <p:sp>
          <p:nvSpPr>
            <p:cNvPr id="11" name="Rectangle 10">
              <a:extLst>
                <a:ext uri="{FF2B5EF4-FFF2-40B4-BE49-F238E27FC236}">
                  <a16:creationId xmlns:a16="http://schemas.microsoft.com/office/drawing/2014/main" id="{A8FD4E96-81F5-642B-682F-EA8E9C1B4BBF}"/>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24" name="Rectangle 23">
              <a:extLst>
                <a:ext uri="{FF2B5EF4-FFF2-40B4-BE49-F238E27FC236}">
                  <a16:creationId xmlns:a16="http://schemas.microsoft.com/office/drawing/2014/main" id="{CB281FAC-7DED-11F7-E97B-2876684F63EF}"/>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685E0AB5-4088-919E-E2BC-C61595F31FBA}"/>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CF26C46B-4980-27C2-EC9A-D91B1FE9C92A}"/>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cxnSp>
        <p:nvCxnSpPr>
          <p:cNvPr id="29" name="Straight Connector 28">
            <a:extLst>
              <a:ext uri="{FF2B5EF4-FFF2-40B4-BE49-F238E27FC236}">
                <a16:creationId xmlns:a16="http://schemas.microsoft.com/office/drawing/2014/main" id="{71F7B8C6-AA96-0577-DFF0-4BA28D2F471E}"/>
              </a:ext>
            </a:extLst>
          </p:cNvPr>
          <p:cNvCxnSpPr>
            <a:cxnSpLocks/>
          </p:cNvCxnSpPr>
          <p:nvPr/>
        </p:nvCxnSpPr>
        <p:spPr>
          <a:xfrm>
            <a:off x="5003600" y="3788951"/>
            <a:ext cx="34861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0" name="Straight Connector 29">
            <a:extLst>
              <a:ext uri="{FF2B5EF4-FFF2-40B4-BE49-F238E27FC236}">
                <a16:creationId xmlns:a16="http://schemas.microsoft.com/office/drawing/2014/main" id="{A5530494-615E-E51D-C722-0AB2F6B110FA}"/>
              </a:ext>
            </a:extLst>
          </p:cNvPr>
          <p:cNvCxnSpPr>
            <a:cxnSpLocks/>
          </p:cNvCxnSpPr>
          <p:nvPr/>
        </p:nvCxnSpPr>
        <p:spPr>
          <a:xfrm>
            <a:off x="1107654" y="3788951"/>
            <a:ext cx="2853999"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28118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3748B94F-D3E5-14F9-55EC-1C4429A63C69}"/>
              </a:ext>
            </a:extLst>
          </p:cNvPr>
          <p:cNvGraphicFramePr>
            <a:graphicFrameLocks noChangeAspect="1"/>
          </p:cNvGraphicFramePr>
          <p:nvPr>
            <p:custDataLst>
              <p:tags r:id="rId1"/>
            </p:custDataLst>
            <p:extLst>
              <p:ext uri="{D42A27DB-BD31-4B8C-83A1-F6EECF244321}">
                <p14:modId xmlns:p14="http://schemas.microsoft.com/office/powerpoint/2010/main" val="48199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23" name="think-cell data - do not delete" hidden="1">
                        <a:extLst>
                          <a:ext uri="{FF2B5EF4-FFF2-40B4-BE49-F238E27FC236}">
                            <a16:creationId xmlns:a16="http://schemas.microsoft.com/office/drawing/2014/main" id="{3748B94F-D3E5-14F9-55EC-1C4429A63C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Heavy snow and blizzard:</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Google Shape;1004;p85">
            <a:extLst>
              <a:ext uri="{FF2B5EF4-FFF2-40B4-BE49-F238E27FC236}">
                <a16:creationId xmlns:a16="http://schemas.microsoft.com/office/drawing/2014/main" id="{3496E54A-8571-327D-7CD3-B8C3E789BD53}"/>
              </a:ext>
            </a:extLst>
          </p:cNvPr>
          <p:cNvSpPr/>
          <p:nvPr/>
        </p:nvSpPr>
        <p:spPr>
          <a:xfrm>
            <a:off x="5448267" y="1927235"/>
            <a:ext cx="360363" cy="360363"/>
          </a:xfrm>
          <a:custGeom>
            <a:avLst/>
            <a:gdLst/>
            <a:ahLst/>
            <a:cxnLst/>
            <a:rect l="l" t="t" r="r" b="b"/>
            <a:pathLst>
              <a:path w="704" h="705" extrusionOk="0">
                <a:moveTo>
                  <a:pt x="0" y="0"/>
                </a:moveTo>
                <a:lnTo>
                  <a:pt x="0" y="705"/>
                </a:lnTo>
                <a:lnTo>
                  <a:pt x="704" y="705"/>
                </a:lnTo>
                <a:lnTo>
                  <a:pt x="704" y="0"/>
                </a:lnTo>
                <a:lnTo>
                  <a:pt x="0" y="0"/>
                </a:lnTo>
                <a:close/>
                <a:moveTo>
                  <a:pt x="673" y="674"/>
                </a:moveTo>
                <a:lnTo>
                  <a:pt x="31" y="674"/>
                </a:lnTo>
                <a:lnTo>
                  <a:pt x="31" y="29"/>
                </a:lnTo>
                <a:lnTo>
                  <a:pt x="673" y="29"/>
                </a:lnTo>
                <a:lnTo>
                  <a:pt x="673" y="674"/>
                </a:lnTo>
                <a:close/>
                <a:moveTo>
                  <a:pt x="598" y="393"/>
                </a:moveTo>
                <a:lnTo>
                  <a:pt x="524" y="428"/>
                </a:lnTo>
                <a:lnTo>
                  <a:pt x="596" y="471"/>
                </a:lnTo>
                <a:lnTo>
                  <a:pt x="582" y="497"/>
                </a:lnTo>
                <a:lnTo>
                  <a:pt x="508" y="455"/>
                </a:lnTo>
                <a:lnTo>
                  <a:pt x="516" y="537"/>
                </a:lnTo>
                <a:lnTo>
                  <a:pt x="485" y="540"/>
                </a:lnTo>
                <a:lnTo>
                  <a:pt x="478" y="437"/>
                </a:lnTo>
                <a:lnTo>
                  <a:pt x="373" y="376"/>
                </a:lnTo>
                <a:lnTo>
                  <a:pt x="373" y="497"/>
                </a:lnTo>
                <a:lnTo>
                  <a:pt x="457" y="556"/>
                </a:lnTo>
                <a:lnTo>
                  <a:pt x="441" y="580"/>
                </a:lnTo>
                <a:lnTo>
                  <a:pt x="373" y="534"/>
                </a:lnTo>
                <a:lnTo>
                  <a:pt x="373" y="618"/>
                </a:lnTo>
                <a:lnTo>
                  <a:pt x="342" y="618"/>
                </a:lnTo>
                <a:lnTo>
                  <a:pt x="342" y="534"/>
                </a:lnTo>
                <a:lnTo>
                  <a:pt x="275" y="580"/>
                </a:lnTo>
                <a:lnTo>
                  <a:pt x="258" y="556"/>
                </a:lnTo>
                <a:lnTo>
                  <a:pt x="342" y="497"/>
                </a:lnTo>
                <a:lnTo>
                  <a:pt x="342" y="376"/>
                </a:lnTo>
                <a:lnTo>
                  <a:pt x="238" y="437"/>
                </a:lnTo>
                <a:lnTo>
                  <a:pt x="230" y="540"/>
                </a:lnTo>
                <a:lnTo>
                  <a:pt x="200" y="537"/>
                </a:lnTo>
                <a:lnTo>
                  <a:pt x="207" y="455"/>
                </a:lnTo>
                <a:lnTo>
                  <a:pt x="133" y="497"/>
                </a:lnTo>
                <a:lnTo>
                  <a:pt x="119" y="471"/>
                </a:lnTo>
                <a:lnTo>
                  <a:pt x="192" y="428"/>
                </a:lnTo>
                <a:lnTo>
                  <a:pt x="117" y="393"/>
                </a:lnTo>
                <a:lnTo>
                  <a:pt x="130" y="366"/>
                </a:lnTo>
                <a:lnTo>
                  <a:pt x="224" y="410"/>
                </a:lnTo>
                <a:lnTo>
                  <a:pt x="328" y="350"/>
                </a:lnTo>
                <a:lnTo>
                  <a:pt x="224" y="290"/>
                </a:lnTo>
                <a:lnTo>
                  <a:pt x="130" y="334"/>
                </a:lnTo>
                <a:lnTo>
                  <a:pt x="117" y="307"/>
                </a:lnTo>
                <a:lnTo>
                  <a:pt x="192" y="272"/>
                </a:lnTo>
                <a:lnTo>
                  <a:pt x="119" y="229"/>
                </a:lnTo>
                <a:lnTo>
                  <a:pt x="133" y="203"/>
                </a:lnTo>
                <a:lnTo>
                  <a:pt x="207" y="245"/>
                </a:lnTo>
                <a:lnTo>
                  <a:pt x="200" y="163"/>
                </a:lnTo>
                <a:lnTo>
                  <a:pt x="230" y="160"/>
                </a:lnTo>
                <a:lnTo>
                  <a:pt x="238" y="263"/>
                </a:lnTo>
                <a:lnTo>
                  <a:pt x="342" y="324"/>
                </a:lnTo>
                <a:lnTo>
                  <a:pt x="342" y="203"/>
                </a:lnTo>
                <a:lnTo>
                  <a:pt x="258" y="144"/>
                </a:lnTo>
                <a:lnTo>
                  <a:pt x="275" y="120"/>
                </a:lnTo>
                <a:lnTo>
                  <a:pt x="342" y="166"/>
                </a:lnTo>
                <a:lnTo>
                  <a:pt x="342" y="82"/>
                </a:lnTo>
                <a:lnTo>
                  <a:pt x="373" y="82"/>
                </a:lnTo>
                <a:lnTo>
                  <a:pt x="373" y="166"/>
                </a:lnTo>
                <a:lnTo>
                  <a:pt x="441" y="120"/>
                </a:lnTo>
                <a:lnTo>
                  <a:pt x="457" y="144"/>
                </a:lnTo>
                <a:lnTo>
                  <a:pt x="373" y="203"/>
                </a:lnTo>
                <a:lnTo>
                  <a:pt x="373" y="324"/>
                </a:lnTo>
                <a:lnTo>
                  <a:pt x="478" y="263"/>
                </a:lnTo>
                <a:lnTo>
                  <a:pt x="485" y="160"/>
                </a:lnTo>
                <a:lnTo>
                  <a:pt x="516" y="163"/>
                </a:lnTo>
                <a:lnTo>
                  <a:pt x="508" y="245"/>
                </a:lnTo>
                <a:lnTo>
                  <a:pt x="582" y="203"/>
                </a:lnTo>
                <a:lnTo>
                  <a:pt x="596" y="229"/>
                </a:lnTo>
                <a:lnTo>
                  <a:pt x="524" y="272"/>
                </a:lnTo>
                <a:lnTo>
                  <a:pt x="598" y="307"/>
                </a:lnTo>
                <a:lnTo>
                  <a:pt x="585" y="334"/>
                </a:lnTo>
                <a:lnTo>
                  <a:pt x="493" y="290"/>
                </a:lnTo>
                <a:lnTo>
                  <a:pt x="387" y="350"/>
                </a:lnTo>
                <a:lnTo>
                  <a:pt x="493" y="410"/>
                </a:lnTo>
                <a:lnTo>
                  <a:pt x="585" y="366"/>
                </a:lnTo>
                <a:lnTo>
                  <a:pt x="598" y="393"/>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a:solidFill>
                <a:schemeClr val="dk1"/>
              </a:solidFill>
              <a:latin typeface="Arial"/>
              <a:ea typeface="Arial"/>
              <a:cs typeface="Arial"/>
              <a:sym typeface="Arial"/>
            </a:endParaRPr>
          </a:p>
        </p:txBody>
      </p:sp>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Heavy icing:</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9" name="Google Shape;1001;p85">
            <a:extLst>
              <a:ext uri="{FF2B5EF4-FFF2-40B4-BE49-F238E27FC236}">
                <a16:creationId xmlns:a16="http://schemas.microsoft.com/office/drawing/2014/main" id="{60395BC7-8D15-A171-C2BB-1060F2641A92}"/>
              </a:ext>
            </a:extLst>
          </p:cNvPr>
          <p:cNvSpPr/>
          <p:nvPr/>
        </p:nvSpPr>
        <p:spPr>
          <a:xfrm>
            <a:off x="11280725" y="192727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388" y="381"/>
                </a:moveTo>
                <a:cubicBezTo>
                  <a:pt x="409" y="393"/>
                  <a:pt x="409" y="393"/>
                  <a:pt x="409" y="393"/>
                </a:cubicBezTo>
                <a:cubicBezTo>
                  <a:pt x="385" y="437"/>
                  <a:pt x="385" y="437"/>
                  <a:pt x="385" y="437"/>
                </a:cubicBezTo>
                <a:cubicBezTo>
                  <a:pt x="363" y="425"/>
                  <a:pt x="363" y="425"/>
                  <a:pt x="363" y="425"/>
                </a:cubicBezTo>
                <a:lnTo>
                  <a:pt x="388" y="381"/>
                </a:lnTo>
                <a:close/>
                <a:moveTo>
                  <a:pt x="380" y="352"/>
                </a:moveTo>
                <a:cubicBezTo>
                  <a:pt x="356" y="396"/>
                  <a:pt x="356" y="396"/>
                  <a:pt x="356" y="396"/>
                </a:cubicBezTo>
                <a:cubicBezTo>
                  <a:pt x="334" y="384"/>
                  <a:pt x="334" y="384"/>
                  <a:pt x="334" y="384"/>
                </a:cubicBezTo>
                <a:cubicBezTo>
                  <a:pt x="359" y="340"/>
                  <a:pt x="359" y="340"/>
                  <a:pt x="359" y="340"/>
                </a:cubicBezTo>
                <a:lnTo>
                  <a:pt x="380" y="352"/>
                </a:lnTo>
                <a:close/>
                <a:moveTo>
                  <a:pt x="436" y="340"/>
                </a:moveTo>
                <a:cubicBezTo>
                  <a:pt x="457" y="352"/>
                  <a:pt x="457" y="352"/>
                  <a:pt x="457" y="352"/>
                </a:cubicBezTo>
                <a:cubicBezTo>
                  <a:pt x="433" y="396"/>
                  <a:pt x="433" y="396"/>
                  <a:pt x="433" y="396"/>
                </a:cubicBezTo>
                <a:cubicBezTo>
                  <a:pt x="411" y="384"/>
                  <a:pt x="411" y="384"/>
                  <a:pt x="411" y="384"/>
                </a:cubicBezTo>
                <a:lnTo>
                  <a:pt x="436" y="340"/>
                </a:lnTo>
                <a:close/>
                <a:moveTo>
                  <a:pt x="170" y="381"/>
                </a:moveTo>
                <a:cubicBezTo>
                  <a:pt x="192" y="393"/>
                  <a:pt x="192" y="393"/>
                  <a:pt x="192" y="393"/>
                </a:cubicBezTo>
                <a:cubicBezTo>
                  <a:pt x="167" y="437"/>
                  <a:pt x="167" y="437"/>
                  <a:pt x="167" y="437"/>
                </a:cubicBezTo>
                <a:cubicBezTo>
                  <a:pt x="146" y="425"/>
                  <a:pt x="146" y="425"/>
                  <a:pt x="146" y="425"/>
                </a:cubicBezTo>
                <a:lnTo>
                  <a:pt x="170" y="381"/>
                </a:lnTo>
                <a:close/>
                <a:moveTo>
                  <a:pt x="163" y="352"/>
                </a:moveTo>
                <a:cubicBezTo>
                  <a:pt x="139" y="396"/>
                  <a:pt x="139" y="396"/>
                  <a:pt x="139" y="396"/>
                </a:cubicBezTo>
                <a:cubicBezTo>
                  <a:pt x="117" y="384"/>
                  <a:pt x="117" y="384"/>
                  <a:pt x="117" y="384"/>
                </a:cubicBezTo>
                <a:cubicBezTo>
                  <a:pt x="141" y="340"/>
                  <a:pt x="141" y="340"/>
                  <a:pt x="141" y="340"/>
                </a:cubicBezTo>
                <a:lnTo>
                  <a:pt x="163" y="352"/>
                </a:lnTo>
                <a:close/>
                <a:moveTo>
                  <a:pt x="159" y="324"/>
                </a:moveTo>
                <a:cubicBezTo>
                  <a:pt x="199" y="324"/>
                  <a:pt x="199" y="324"/>
                  <a:pt x="199" y="324"/>
                </a:cubicBezTo>
                <a:cubicBezTo>
                  <a:pt x="174" y="369"/>
                  <a:pt x="174" y="369"/>
                  <a:pt x="174" y="369"/>
                </a:cubicBezTo>
                <a:cubicBezTo>
                  <a:pt x="243" y="369"/>
                  <a:pt x="243" y="369"/>
                  <a:pt x="243" y="369"/>
                </a:cubicBezTo>
                <a:cubicBezTo>
                  <a:pt x="204" y="507"/>
                  <a:pt x="204" y="507"/>
                  <a:pt x="204" y="507"/>
                </a:cubicBezTo>
                <a:cubicBezTo>
                  <a:pt x="355" y="324"/>
                  <a:pt x="355" y="324"/>
                  <a:pt x="355" y="324"/>
                </a:cubicBezTo>
                <a:cubicBezTo>
                  <a:pt x="433" y="324"/>
                  <a:pt x="433" y="324"/>
                  <a:pt x="433" y="324"/>
                </a:cubicBezTo>
                <a:cubicBezTo>
                  <a:pt x="469" y="324"/>
                  <a:pt x="499" y="294"/>
                  <a:pt x="499" y="258"/>
                </a:cubicBezTo>
                <a:cubicBezTo>
                  <a:pt x="499" y="227"/>
                  <a:pt x="477" y="200"/>
                  <a:pt x="448" y="193"/>
                </a:cubicBezTo>
                <a:cubicBezTo>
                  <a:pt x="449" y="192"/>
                  <a:pt x="449" y="190"/>
                  <a:pt x="449" y="189"/>
                </a:cubicBezTo>
                <a:cubicBezTo>
                  <a:pt x="449" y="158"/>
                  <a:pt x="423" y="132"/>
                  <a:pt x="392" y="132"/>
                </a:cubicBezTo>
                <a:cubicBezTo>
                  <a:pt x="383" y="132"/>
                  <a:pt x="373" y="135"/>
                  <a:pt x="365" y="139"/>
                </a:cubicBezTo>
                <a:cubicBezTo>
                  <a:pt x="344" y="106"/>
                  <a:pt x="307" y="86"/>
                  <a:pt x="267" y="86"/>
                </a:cubicBezTo>
                <a:cubicBezTo>
                  <a:pt x="217" y="86"/>
                  <a:pt x="173" y="118"/>
                  <a:pt x="157" y="164"/>
                </a:cubicBezTo>
                <a:cubicBezTo>
                  <a:pt x="113" y="165"/>
                  <a:pt x="79" y="200"/>
                  <a:pt x="79" y="244"/>
                </a:cubicBezTo>
                <a:cubicBezTo>
                  <a:pt x="79" y="288"/>
                  <a:pt x="115" y="324"/>
                  <a:pt x="159" y="324"/>
                </a:cubicBezTo>
                <a:close/>
                <a:moveTo>
                  <a:pt x="260" y="401"/>
                </a:moveTo>
                <a:cubicBezTo>
                  <a:pt x="276" y="344"/>
                  <a:pt x="276" y="344"/>
                  <a:pt x="276" y="344"/>
                </a:cubicBezTo>
                <a:cubicBezTo>
                  <a:pt x="216" y="344"/>
                  <a:pt x="216" y="344"/>
                  <a:pt x="216" y="344"/>
                </a:cubicBezTo>
                <a:cubicBezTo>
                  <a:pt x="272" y="243"/>
                  <a:pt x="272" y="243"/>
                  <a:pt x="272" y="243"/>
                </a:cubicBezTo>
                <a:cubicBezTo>
                  <a:pt x="335" y="243"/>
                  <a:pt x="335" y="243"/>
                  <a:pt x="335" y="243"/>
                </a:cubicBezTo>
                <a:cubicBezTo>
                  <a:pt x="289" y="324"/>
                  <a:pt x="289" y="324"/>
                  <a:pt x="289" y="324"/>
                </a:cubicBezTo>
                <a:cubicBezTo>
                  <a:pt x="323" y="324"/>
                  <a:pt x="323" y="324"/>
                  <a:pt x="323" y="324"/>
                </a:cubicBezTo>
                <a:lnTo>
                  <a:pt x="260" y="401"/>
                </a:lnTo>
                <a:close/>
                <a:moveTo>
                  <a:pt x="159" y="188"/>
                </a:moveTo>
                <a:cubicBezTo>
                  <a:pt x="161" y="188"/>
                  <a:pt x="162" y="188"/>
                  <a:pt x="164" y="189"/>
                </a:cubicBezTo>
                <a:cubicBezTo>
                  <a:pt x="175" y="190"/>
                  <a:pt x="175" y="190"/>
                  <a:pt x="175" y="190"/>
                </a:cubicBezTo>
                <a:cubicBezTo>
                  <a:pt x="177" y="180"/>
                  <a:pt x="177" y="180"/>
                  <a:pt x="177" y="180"/>
                </a:cubicBezTo>
                <a:cubicBezTo>
                  <a:pt x="188" y="139"/>
                  <a:pt x="225" y="111"/>
                  <a:pt x="267" y="111"/>
                </a:cubicBezTo>
                <a:cubicBezTo>
                  <a:pt x="303" y="111"/>
                  <a:pt x="334" y="131"/>
                  <a:pt x="350" y="163"/>
                </a:cubicBezTo>
                <a:cubicBezTo>
                  <a:pt x="358" y="178"/>
                  <a:pt x="358" y="178"/>
                  <a:pt x="358" y="178"/>
                </a:cubicBezTo>
                <a:cubicBezTo>
                  <a:pt x="370" y="166"/>
                  <a:pt x="370" y="166"/>
                  <a:pt x="370" y="166"/>
                </a:cubicBezTo>
                <a:cubicBezTo>
                  <a:pt x="376" y="160"/>
                  <a:pt x="384" y="157"/>
                  <a:pt x="392" y="157"/>
                </a:cubicBezTo>
                <a:cubicBezTo>
                  <a:pt x="410" y="157"/>
                  <a:pt x="424" y="171"/>
                  <a:pt x="424" y="189"/>
                </a:cubicBezTo>
                <a:cubicBezTo>
                  <a:pt x="424" y="192"/>
                  <a:pt x="423" y="196"/>
                  <a:pt x="422" y="199"/>
                </a:cubicBezTo>
                <a:cubicBezTo>
                  <a:pt x="416" y="216"/>
                  <a:pt x="416" y="216"/>
                  <a:pt x="416" y="216"/>
                </a:cubicBezTo>
                <a:cubicBezTo>
                  <a:pt x="433" y="216"/>
                  <a:pt x="433" y="216"/>
                  <a:pt x="433" y="216"/>
                </a:cubicBezTo>
                <a:cubicBezTo>
                  <a:pt x="456" y="216"/>
                  <a:pt x="475" y="235"/>
                  <a:pt x="475" y="258"/>
                </a:cubicBezTo>
                <a:cubicBezTo>
                  <a:pt x="475" y="281"/>
                  <a:pt x="456" y="299"/>
                  <a:pt x="433" y="299"/>
                </a:cubicBezTo>
                <a:cubicBezTo>
                  <a:pt x="375" y="299"/>
                  <a:pt x="375" y="299"/>
                  <a:pt x="375" y="299"/>
                </a:cubicBezTo>
                <a:cubicBezTo>
                  <a:pt x="376" y="299"/>
                  <a:pt x="376" y="299"/>
                  <a:pt x="376" y="299"/>
                </a:cubicBezTo>
                <a:cubicBezTo>
                  <a:pt x="331" y="299"/>
                  <a:pt x="331" y="299"/>
                  <a:pt x="331" y="299"/>
                </a:cubicBezTo>
                <a:cubicBezTo>
                  <a:pt x="377" y="218"/>
                  <a:pt x="377" y="218"/>
                  <a:pt x="377" y="218"/>
                </a:cubicBezTo>
                <a:cubicBezTo>
                  <a:pt x="257" y="218"/>
                  <a:pt x="257" y="218"/>
                  <a:pt x="257" y="218"/>
                </a:cubicBezTo>
                <a:cubicBezTo>
                  <a:pt x="212" y="299"/>
                  <a:pt x="212" y="299"/>
                  <a:pt x="212" y="299"/>
                </a:cubicBezTo>
                <a:cubicBezTo>
                  <a:pt x="159" y="299"/>
                  <a:pt x="159" y="299"/>
                  <a:pt x="159" y="299"/>
                </a:cubicBezTo>
                <a:cubicBezTo>
                  <a:pt x="128" y="299"/>
                  <a:pt x="103" y="274"/>
                  <a:pt x="103" y="244"/>
                </a:cubicBezTo>
                <a:cubicBezTo>
                  <a:pt x="103" y="213"/>
                  <a:pt x="128" y="188"/>
                  <a:pt x="159" y="188"/>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10641434"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Listen to the warnings from meteorologists, keep an eye on the situation.</a:t>
            </a:r>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221142"/>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Snow and blizzards, ice and wet snow</a:t>
            </a:r>
            <a:br>
              <a:rPr lang="lv-LV"/>
            </a:br>
            <a:r>
              <a:rPr lang="en-gb">
                <a:solidFill>
                  <a:srgbClr val="A8192D"/>
                </a:solidFill>
              </a:rPr>
              <a:t>How to proceed?</a:t>
            </a:r>
            <a:endParaRPr lang="en-GB"/>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3979961"/>
            <a:ext cx="10641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473107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1107653" y="548726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1" name="Rectangle 40">
            <a:extLst>
              <a:ext uri="{FF2B5EF4-FFF2-40B4-BE49-F238E27FC236}">
                <a16:creationId xmlns:a16="http://schemas.microsoft.com/office/drawing/2014/main" id="{66A14158-E11A-E312-8696-ADD9D0E04629}"/>
              </a:ext>
            </a:extLst>
          </p:cNvPr>
          <p:cNvSpPr/>
          <p:nvPr/>
        </p:nvSpPr>
        <p:spPr>
          <a:xfrm>
            <a:off x="1107653" y="4047815"/>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Follow the instructions and recommendations of the services, authorities and agencie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4804006"/>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If you are outdoors, find somewhere to shelter (in a building).</a:t>
            </a: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5808630" y="3221142"/>
            <a:ext cx="5940458" cy="263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5" name="Rectangle 64">
            <a:extLst>
              <a:ext uri="{FF2B5EF4-FFF2-40B4-BE49-F238E27FC236}">
                <a16:creationId xmlns:a16="http://schemas.microsoft.com/office/drawing/2014/main" id="{6C9963BA-CB30-1A9A-495C-AC7D92B42F6A}"/>
              </a:ext>
            </a:extLst>
          </p:cNvPr>
          <p:cNvSpPr/>
          <p:nvPr/>
        </p:nvSpPr>
        <p:spPr>
          <a:xfrm>
            <a:off x="1107653" y="3293920"/>
            <a:ext cx="10641435"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Stay indoors if possible.</a:t>
            </a:r>
          </a:p>
        </p:txBody>
      </p:sp>
      <p:sp>
        <p:nvSpPr>
          <p:cNvPr id="66" name="Rectangle 65">
            <a:extLst>
              <a:ext uri="{FF2B5EF4-FFF2-40B4-BE49-F238E27FC236}">
                <a16:creationId xmlns:a16="http://schemas.microsoft.com/office/drawing/2014/main" id="{F013B6EF-6664-55FA-8A95-9B25B931D676}"/>
              </a:ext>
            </a:extLst>
          </p:cNvPr>
          <p:cNvSpPr/>
          <p:nvPr/>
        </p:nvSpPr>
        <p:spPr>
          <a:xfrm>
            <a:off x="6940550" y="404942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If you are outdoors, move slowly and sensibly.</a:t>
            </a:r>
          </a:p>
        </p:txBody>
      </p:sp>
      <p:sp>
        <p:nvSpPr>
          <p:cNvPr id="20" name="Rectangle 19">
            <a:extLst>
              <a:ext uri="{FF2B5EF4-FFF2-40B4-BE49-F238E27FC236}">
                <a16:creationId xmlns:a16="http://schemas.microsoft.com/office/drawing/2014/main" id="{A4EAD244-3E35-CF16-9610-C9DD5B3A3D07}"/>
              </a:ext>
            </a:extLst>
          </p:cNvPr>
          <p:cNvSpPr/>
          <p:nvPr/>
        </p:nvSpPr>
        <p:spPr>
          <a:xfrm>
            <a:off x="1107653" y="5560198"/>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Avoid driving mechanised and non-mechanised vehicles or pull over in heavy snow or blizzards.</a:t>
            </a:r>
          </a:p>
        </p:txBody>
      </p: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10" name="Group 9">
            <a:extLst>
              <a:ext uri="{FF2B5EF4-FFF2-40B4-BE49-F238E27FC236}">
                <a16:creationId xmlns:a16="http://schemas.microsoft.com/office/drawing/2014/main" id="{3D9F3007-5FB1-2326-9A43-7836A0DC65D7}"/>
              </a:ext>
            </a:extLst>
          </p:cNvPr>
          <p:cNvGrpSpPr/>
          <p:nvPr/>
        </p:nvGrpSpPr>
        <p:grpSpPr>
          <a:xfrm>
            <a:off x="442913" y="2538660"/>
            <a:ext cx="576263" cy="3633538"/>
            <a:chOff x="442913" y="2538660"/>
            <a:chExt cx="576263" cy="3633538"/>
          </a:xfrm>
        </p:grpSpPr>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9" name="Rectangle 88">
              <a:extLst>
                <a:ext uri="{FF2B5EF4-FFF2-40B4-BE49-F238E27FC236}">
                  <a16:creationId xmlns:a16="http://schemas.microsoft.com/office/drawing/2014/main" id="{7AD0F22C-299C-4471-6C33-C68875EFE67F}"/>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95" name="Rectangle 94">
            <a:extLst>
              <a:ext uri="{FF2B5EF4-FFF2-40B4-BE49-F238E27FC236}">
                <a16:creationId xmlns:a16="http://schemas.microsoft.com/office/drawing/2014/main" id="{443FAA3C-0F7C-AD6B-CBF1-68825DEE28EF}"/>
              </a:ext>
            </a:extLst>
          </p:cNvPr>
          <p:cNvSpPr/>
          <p:nvPr/>
        </p:nvSpPr>
        <p:spPr>
          <a:xfrm>
            <a:off x="6275388"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421904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6</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6940550" y="473107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DBBAF735-721D-F52F-3F37-FEC03949D8CB}"/>
              </a:ext>
            </a:extLst>
          </p:cNvPr>
          <p:cNvCxnSpPr>
            <a:cxnSpLocks/>
          </p:cNvCxnSpPr>
          <p:nvPr/>
        </p:nvCxnSpPr>
        <p:spPr>
          <a:xfrm>
            <a:off x="6940550" y="548726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69CFE8AA-8BE2-A62E-A1B9-8B4AE9C53218}"/>
              </a:ext>
            </a:extLst>
          </p:cNvPr>
          <p:cNvSpPr/>
          <p:nvPr/>
        </p:nvSpPr>
        <p:spPr>
          <a:xfrm>
            <a:off x="6940550" y="4804006"/>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When moving around, consider your route to minimise the number of trees, power lines and other things that could break or fall from freezing.</a:t>
            </a:r>
          </a:p>
        </p:txBody>
      </p:sp>
      <p:sp>
        <p:nvSpPr>
          <p:cNvPr id="17" name="Rectangle 16">
            <a:extLst>
              <a:ext uri="{FF2B5EF4-FFF2-40B4-BE49-F238E27FC236}">
                <a16:creationId xmlns:a16="http://schemas.microsoft.com/office/drawing/2014/main" id="{F910971B-2255-41F9-8303-8F4AF0AD11A8}"/>
              </a:ext>
            </a:extLst>
          </p:cNvPr>
          <p:cNvSpPr/>
          <p:nvPr/>
        </p:nvSpPr>
        <p:spPr>
          <a:xfrm>
            <a:off x="6940550" y="5560198"/>
            <a:ext cx="49212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spc="-30">
                <a:solidFill>
                  <a:srgbClr val="212529"/>
                </a:solidFill>
                <a:effectLst/>
              </a:rPr>
              <a:t>Avoid driving mechanised and non-mechanised vehicles, choose an appropriate speed or pull over in case of heavy icing.</a:t>
            </a:r>
          </a:p>
        </p:txBody>
      </p:sp>
      <p:sp>
        <p:nvSpPr>
          <p:cNvPr id="18" name="Rectangle 17">
            <a:extLst>
              <a:ext uri="{FF2B5EF4-FFF2-40B4-BE49-F238E27FC236}">
                <a16:creationId xmlns:a16="http://schemas.microsoft.com/office/drawing/2014/main" id="{B8EA7805-296B-5D47-944C-D538156BAD89}"/>
              </a:ext>
            </a:extLst>
          </p:cNvPr>
          <p:cNvSpPr/>
          <p:nvPr/>
        </p:nvSpPr>
        <p:spPr>
          <a:xfrm>
            <a:off x="6275810"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6392204" y="4974424"/>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1" name="Rectangle 20">
            <a:extLst>
              <a:ext uri="{FF2B5EF4-FFF2-40B4-BE49-F238E27FC236}">
                <a16:creationId xmlns:a16="http://schemas.microsoft.com/office/drawing/2014/main" id="{B3BACB13-7F5F-7706-5C2F-1B17B9E4C0A1}"/>
              </a:ext>
            </a:extLst>
          </p:cNvPr>
          <p:cNvSpPr/>
          <p:nvPr/>
        </p:nvSpPr>
        <p:spPr>
          <a:xfrm>
            <a:off x="6275810"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2" name="L-Shape 21">
            <a:extLst>
              <a:ext uri="{FF2B5EF4-FFF2-40B4-BE49-F238E27FC236}">
                <a16:creationId xmlns:a16="http://schemas.microsoft.com/office/drawing/2014/main" id="{23636E8D-78E7-BF51-1737-96A4E2EF4240}"/>
              </a:ext>
            </a:extLst>
          </p:cNvPr>
          <p:cNvSpPr/>
          <p:nvPr/>
        </p:nvSpPr>
        <p:spPr>
          <a:xfrm rot="13500000">
            <a:off x="6392204" y="572981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11" name="Group 10">
            <a:extLst>
              <a:ext uri="{FF2B5EF4-FFF2-40B4-BE49-F238E27FC236}">
                <a16:creationId xmlns:a16="http://schemas.microsoft.com/office/drawing/2014/main" id="{2847BDC1-3405-125F-0BEA-DC9076BC9164}"/>
              </a:ext>
            </a:extLst>
          </p:cNvPr>
          <p:cNvGrpSpPr/>
          <p:nvPr/>
        </p:nvGrpSpPr>
        <p:grpSpPr>
          <a:xfrm>
            <a:off x="9190780" y="159786"/>
            <a:ext cx="2558308" cy="217488"/>
            <a:chOff x="9190780" y="159786"/>
            <a:chExt cx="2558308" cy="217488"/>
          </a:xfrm>
        </p:grpSpPr>
        <p:sp>
          <p:nvSpPr>
            <p:cNvPr id="24" name="Rectangle 23">
              <a:extLst>
                <a:ext uri="{FF2B5EF4-FFF2-40B4-BE49-F238E27FC236}">
                  <a16:creationId xmlns:a16="http://schemas.microsoft.com/office/drawing/2014/main" id="{94BACA83-F8C2-1EAF-3C01-390036A69907}"/>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9860A92C-079F-356C-8929-182157A10D09}"/>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70A80D55-9055-7844-A385-96A0354797B5}"/>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41C6A850-80F5-5127-CF45-A3B85E9D5902}"/>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8209341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5AFF439-9F5A-0531-7A7E-8B96D3028C86}"/>
              </a:ext>
            </a:extLst>
          </p:cNvPr>
          <p:cNvGraphicFramePr>
            <a:graphicFrameLocks noChangeAspect="1"/>
          </p:cNvGraphicFramePr>
          <p:nvPr>
            <p:custDataLst>
              <p:tags r:id="rId1"/>
            </p:custDataLst>
            <p:extLst>
              <p:ext uri="{D42A27DB-BD31-4B8C-83A1-F6EECF244321}">
                <p14:modId xmlns:p14="http://schemas.microsoft.com/office/powerpoint/2010/main" val="174103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85AFF439-9F5A-0531-7A7E-8B96D3028C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Earthquakes</a:t>
            </a:r>
            <a:r>
              <a:rPr lang="en-gb">
                <a:solidFill>
                  <a:srgbClr val="C00000"/>
                </a:solidFill>
              </a:rPr>
              <a:t> </a:t>
            </a:r>
            <a:br>
              <a:rPr lang="lv-LV">
                <a:solidFill>
                  <a:srgbClr val="C00000"/>
                </a:solidFill>
              </a:rPr>
            </a:br>
            <a:r>
              <a:rPr lang="en-gb">
                <a:solidFill>
                  <a:srgbClr val="A8192D"/>
                </a:solidFill>
              </a:rPr>
              <a:t>How to proceed?</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7</a:t>
            </a:fld>
            <a:endParaRPr lang="en-GB"/>
          </a:p>
        </p:txBody>
      </p:sp>
      <p:sp>
        <p:nvSpPr>
          <p:cNvPr id="17" name="Rectangle 16">
            <a:extLst>
              <a:ext uri="{FF2B5EF4-FFF2-40B4-BE49-F238E27FC236}">
                <a16:creationId xmlns:a16="http://schemas.microsoft.com/office/drawing/2014/main" id="{07AE82BB-05A2-CD64-8E88-E56BE937E148}"/>
              </a:ext>
            </a:extLst>
          </p:cNvPr>
          <p:cNvSpPr/>
          <p:nvPr/>
        </p:nvSpPr>
        <p:spPr>
          <a:xfrm>
            <a:off x="442912" y="1817687"/>
            <a:ext cx="576000" cy="173738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8" name="Rectangle 17">
            <a:extLst>
              <a:ext uri="{FF2B5EF4-FFF2-40B4-BE49-F238E27FC236}">
                <a16:creationId xmlns:a16="http://schemas.microsoft.com/office/drawing/2014/main" id="{0D29C800-1357-4655-9D13-45F309E496CE}"/>
              </a:ext>
            </a:extLst>
          </p:cNvPr>
          <p:cNvSpPr/>
          <p:nvPr/>
        </p:nvSpPr>
        <p:spPr>
          <a:xfrm>
            <a:off x="442912" y="3691685"/>
            <a:ext cx="576000" cy="97759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9" name="Rectangle 18">
            <a:extLst>
              <a:ext uri="{FF2B5EF4-FFF2-40B4-BE49-F238E27FC236}">
                <a16:creationId xmlns:a16="http://schemas.microsoft.com/office/drawing/2014/main" id="{3D4E6847-68DD-0003-3C96-43255AC18067}"/>
              </a:ext>
            </a:extLst>
          </p:cNvPr>
          <p:cNvSpPr/>
          <p:nvPr/>
        </p:nvSpPr>
        <p:spPr>
          <a:xfrm>
            <a:off x="442912" y="4804200"/>
            <a:ext cx="576000" cy="1368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Rectangle 26">
            <a:extLst>
              <a:ext uri="{FF2B5EF4-FFF2-40B4-BE49-F238E27FC236}">
                <a16:creationId xmlns:a16="http://schemas.microsoft.com/office/drawing/2014/main" id="{87A7D407-C040-2E26-BF42-22D769757BED}"/>
              </a:ext>
            </a:extLst>
          </p:cNvPr>
          <p:cNvSpPr/>
          <p:nvPr/>
        </p:nvSpPr>
        <p:spPr>
          <a:xfrm>
            <a:off x="1120998" y="1817417"/>
            <a:ext cx="4795615" cy="173792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1">
                <a:solidFill>
                  <a:schemeClr val="tx1"/>
                </a:solidFill>
              </a:rPr>
              <a:t>If you are indoors</a:t>
            </a:r>
            <a:r>
              <a:rPr lang="en-gb" sz="1400">
                <a:solidFill>
                  <a:schemeClr val="tx1"/>
                </a:solidFill>
              </a:rPr>
              <a:t>, stay there. Move quickly to a safer place in the room, such as under a massive table, against an interior wall or in a doorway. The purpose of this movement is to protect yourself from falling objects. Avoid corners near windows, large mirrors, hanging objects, heavy furniture, fireplaces and stoves.</a:t>
            </a:r>
          </a:p>
        </p:txBody>
      </p:sp>
      <p:sp>
        <p:nvSpPr>
          <p:cNvPr id="28" name="Rectangle 27">
            <a:extLst>
              <a:ext uri="{FF2B5EF4-FFF2-40B4-BE49-F238E27FC236}">
                <a16:creationId xmlns:a16="http://schemas.microsoft.com/office/drawing/2014/main" id="{B76B17B5-8B5C-F3CE-8063-0A63948D78B6}"/>
              </a:ext>
            </a:extLst>
          </p:cNvPr>
          <p:cNvSpPr/>
          <p:nvPr/>
        </p:nvSpPr>
        <p:spPr>
          <a:xfrm>
            <a:off x="1120998" y="3689948"/>
            <a:ext cx="4795615" cy="9779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1" dirty="0">
                <a:solidFill>
                  <a:schemeClr val="tx1"/>
                </a:solidFill>
              </a:rPr>
              <a:t>If you are cooking</a:t>
            </a:r>
            <a:r>
              <a:rPr lang="en-gb" sz="1400" dirty="0">
                <a:solidFill>
                  <a:schemeClr val="tx1"/>
                </a:solidFill>
              </a:rPr>
              <a:t>, turn off the cooker and move to a safer place in the room.</a:t>
            </a:r>
            <a:endParaRPr lang="lv-LV" sz="1400" dirty="0">
              <a:solidFill>
                <a:schemeClr val="tx1"/>
              </a:solidFill>
              <a:cs typeface="Arial"/>
            </a:endParaRPr>
          </a:p>
        </p:txBody>
      </p:sp>
      <p:sp>
        <p:nvSpPr>
          <p:cNvPr id="29" name="Rectangle 28">
            <a:extLst>
              <a:ext uri="{FF2B5EF4-FFF2-40B4-BE49-F238E27FC236}">
                <a16:creationId xmlns:a16="http://schemas.microsoft.com/office/drawing/2014/main" id="{D69C1672-FFAD-16A3-63FE-225E5F660E44}"/>
              </a:ext>
            </a:extLst>
          </p:cNvPr>
          <p:cNvSpPr/>
          <p:nvPr/>
        </p:nvSpPr>
        <p:spPr>
          <a:xfrm>
            <a:off x="1120998" y="4803775"/>
            <a:ext cx="4795615" cy="136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1">
                <a:solidFill>
                  <a:schemeClr val="tx1"/>
                </a:solidFill>
              </a:rPr>
              <a:t>If you are outside</a:t>
            </a:r>
            <a:r>
              <a:rPr lang="en-gb" sz="1400">
                <a:solidFill>
                  <a:schemeClr val="tx1"/>
                </a:solidFill>
              </a:rPr>
              <a:t>, move to an open area where falling objects are unlikely to hit you. Move away from buildings, power lines and trees.</a:t>
            </a:r>
          </a:p>
        </p:txBody>
      </p:sp>
      <p:sp>
        <p:nvSpPr>
          <p:cNvPr id="31" name="L-Shape 30">
            <a:extLst>
              <a:ext uri="{FF2B5EF4-FFF2-40B4-BE49-F238E27FC236}">
                <a16:creationId xmlns:a16="http://schemas.microsoft.com/office/drawing/2014/main" id="{D9C05CF2-2421-98FB-5151-12DDF67E8CAA}"/>
              </a:ext>
            </a:extLst>
          </p:cNvPr>
          <p:cNvSpPr/>
          <p:nvPr/>
        </p:nvSpPr>
        <p:spPr>
          <a:xfrm rot="13500000">
            <a:off x="514214" y="2514233"/>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2" name="L-Shape 31">
            <a:extLst>
              <a:ext uri="{FF2B5EF4-FFF2-40B4-BE49-F238E27FC236}">
                <a16:creationId xmlns:a16="http://schemas.microsoft.com/office/drawing/2014/main" id="{07DEA566-3113-A336-A349-10675574D181}"/>
              </a:ext>
            </a:extLst>
          </p:cNvPr>
          <p:cNvSpPr/>
          <p:nvPr/>
        </p:nvSpPr>
        <p:spPr>
          <a:xfrm rot="13500000">
            <a:off x="514214" y="4008340"/>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3" name="L-Shape 32">
            <a:extLst>
              <a:ext uri="{FF2B5EF4-FFF2-40B4-BE49-F238E27FC236}">
                <a16:creationId xmlns:a16="http://schemas.microsoft.com/office/drawing/2014/main" id="{EF323899-14D3-7456-8427-D3672C6FAA49}"/>
              </a:ext>
            </a:extLst>
          </p:cNvPr>
          <p:cNvSpPr/>
          <p:nvPr/>
        </p:nvSpPr>
        <p:spPr>
          <a:xfrm rot="13500000">
            <a:off x="514214" y="5316056"/>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4" name="Rectangle 33">
            <a:extLst>
              <a:ext uri="{FF2B5EF4-FFF2-40B4-BE49-F238E27FC236}">
                <a16:creationId xmlns:a16="http://schemas.microsoft.com/office/drawing/2014/main" id="{D4C37CD8-968C-EC30-63E2-666DDD7E6114}"/>
              </a:ext>
            </a:extLst>
          </p:cNvPr>
          <p:cNvSpPr/>
          <p:nvPr/>
        </p:nvSpPr>
        <p:spPr>
          <a:xfrm>
            <a:off x="6275389" y="1817687"/>
            <a:ext cx="576000" cy="173738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5" name="Rectangle 34">
            <a:extLst>
              <a:ext uri="{FF2B5EF4-FFF2-40B4-BE49-F238E27FC236}">
                <a16:creationId xmlns:a16="http://schemas.microsoft.com/office/drawing/2014/main" id="{1AED2D03-04F3-8519-CA78-D8EEEA081F4F}"/>
              </a:ext>
            </a:extLst>
          </p:cNvPr>
          <p:cNvSpPr/>
          <p:nvPr/>
        </p:nvSpPr>
        <p:spPr>
          <a:xfrm>
            <a:off x="6275389" y="3691685"/>
            <a:ext cx="576000" cy="97759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6" name="Rectangle 35">
            <a:extLst>
              <a:ext uri="{FF2B5EF4-FFF2-40B4-BE49-F238E27FC236}">
                <a16:creationId xmlns:a16="http://schemas.microsoft.com/office/drawing/2014/main" id="{07CEBB56-7673-8206-8383-0066BCD7C03B}"/>
              </a:ext>
            </a:extLst>
          </p:cNvPr>
          <p:cNvSpPr/>
          <p:nvPr/>
        </p:nvSpPr>
        <p:spPr>
          <a:xfrm>
            <a:off x="6275389" y="4804200"/>
            <a:ext cx="576000" cy="1368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7" name="Rectangle 36">
            <a:extLst>
              <a:ext uri="{FF2B5EF4-FFF2-40B4-BE49-F238E27FC236}">
                <a16:creationId xmlns:a16="http://schemas.microsoft.com/office/drawing/2014/main" id="{114E4D58-D213-1CDC-E017-0EED8A2C6A7D}"/>
              </a:ext>
            </a:extLst>
          </p:cNvPr>
          <p:cNvSpPr/>
          <p:nvPr/>
        </p:nvSpPr>
        <p:spPr>
          <a:xfrm>
            <a:off x="6953475" y="1817417"/>
            <a:ext cx="4795615" cy="173792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a:solidFill>
                  <a:schemeClr val="tx1"/>
                </a:solidFill>
              </a:rPr>
              <a:t>Under </a:t>
            </a:r>
            <a:r>
              <a:rPr lang="en-gb" sz="1400" b="1">
                <a:solidFill>
                  <a:schemeClr val="tx1"/>
                </a:solidFill>
              </a:rPr>
              <a:t>no circumstances should you try to escape from a building during an earthquake</a:t>
            </a:r>
            <a:r>
              <a:rPr lang="en-gb" sz="1400">
                <a:solidFill>
                  <a:schemeClr val="tx1"/>
                </a:solidFill>
              </a:rPr>
              <a:t>, as falling parts of the building in the stairwell or collapsing stairs could injure or kill you. Only at the very beginning of the earthquake should those who are close to the outer exit door get out of the building as quickly as possible and take shelter in as much cover as possible.</a:t>
            </a:r>
          </a:p>
        </p:txBody>
      </p:sp>
      <p:sp>
        <p:nvSpPr>
          <p:cNvPr id="38" name="Rectangle 37">
            <a:extLst>
              <a:ext uri="{FF2B5EF4-FFF2-40B4-BE49-F238E27FC236}">
                <a16:creationId xmlns:a16="http://schemas.microsoft.com/office/drawing/2014/main" id="{6EFDA28B-B76F-477E-3282-8B51A532FCBB}"/>
              </a:ext>
            </a:extLst>
          </p:cNvPr>
          <p:cNvSpPr/>
          <p:nvPr/>
        </p:nvSpPr>
        <p:spPr>
          <a:xfrm>
            <a:off x="6953475" y="3689948"/>
            <a:ext cx="4795615" cy="9779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1">
                <a:solidFill>
                  <a:schemeClr val="tx1"/>
                </a:solidFill>
              </a:rPr>
              <a:t>If you are in a crowded area</a:t>
            </a:r>
            <a:r>
              <a:rPr lang="en-gb" sz="1400">
                <a:solidFill>
                  <a:schemeClr val="tx1"/>
                </a:solidFill>
              </a:rPr>
              <a:t>, avoid panicking and do not rush for the exit. Kneel down and cover your head and neck with your arms and hands.</a:t>
            </a:r>
          </a:p>
        </p:txBody>
      </p:sp>
      <p:sp>
        <p:nvSpPr>
          <p:cNvPr id="39" name="Rectangle 38">
            <a:extLst>
              <a:ext uri="{FF2B5EF4-FFF2-40B4-BE49-F238E27FC236}">
                <a16:creationId xmlns:a16="http://schemas.microsoft.com/office/drawing/2014/main" id="{81207953-BD7F-B4A4-E6BC-157B8E494D6B}"/>
              </a:ext>
            </a:extLst>
          </p:cNvPr>
          <p:cNvSpPr/>
          <p:nvPr/>
        </p:nvSpPr>
        <p:spPr>
          <a:xfrm>
            <a:off x="6953475" y="4803775"/>
            <a:ext cx="4795615" cy="136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1">
                <a:solidFill>
                  <a:schemeClr val="tx1"/>
                </a:solidFill>
              </a:rPr>
              <a:t>If you are in a car</a:t>
            </a:r>
            <a:r>
              <a:rPr lang="en-gb" sz="1400">
                <a:solidFill>
                  <a:schemeClr val="tx1"/>
                </a:solidFill>
              </a:rPr>
              <a:t>, slow down slowly and stop on the side of the street. Avoid stopping on and under bridges and overpasses, power lines, trees and large signs. Stay in the car!</a:t>
            </a:r>
          </a:p>
        </p:txBody>
      </p:sp>
      <p:sp>
        <p:nvSpPr>
          <p:cNvPr id="40" name="L-Shape 39">
            <a:extLst>
              <a:ext uri="{FF2B5EF4-FFF2-40B4-BE49-F238E27FC236}">
                <a16:creationId xmlns:a16="http://schemas.microsoft.com/office/drawing/2014/main" id="{F39CE4AD-F4DC-916E-E136-40A8E8E2B3DF}"/>
              </a:ext>
            </a:extLst>
          </p:cNvPr>
          <p:cNvSpPr/>
          <p:nvPr/>
        </p:nvSpPr>
        <p:spPr>
          <a:xfrm rot="13500000">
            <a:off x="6346691" y="2514233"/>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1" name="L-Shape 40">
            <a:extLst>
              <a:ext uri="{FF2B5EF4-FFF2-40B4-BE49-F238E27FC236}">
                <a16:creationId xmlns:a16="http://schemas.microsoft.com/office/drawing/2014/main" id="{FB94A174-7C36-DD09-F10E-C9FC47196C50}"/>
              </a:ext>
            </a:extLst>
          </p:cNvPr>
          <p:cNvSpPr/>
          <p:nvPr/>
        </p:nvSpPr>
        <p:spPr>
          <a:xfrm rot="13500000">
            <a:off x="6346691" y="4008340"/>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2" name="L-Shape 41">
            <a:extLst>
              <a:ext uri="{FF2B5EF4-FFF2-40B4-BE49-F238E27FC236}">
                <a16:creationId xmlns:a16="http://schemas.microsoft.com/office/drawing/2014/main" id="{617F6F6C-5F02-B35F-E984-970EC66E4D06}"/>
              </a:ext>
            </a:extLst>
          </p:cNvPr>
          <p:cNvSpPr/>
          <p:nvPr/>
        </p:nvSpPr>
        <p:spPr>
          <a:xfrm rot="13500000">
            <a:off x="6346691" y="5316056"/>
            <a:ext cx="344288" cy="344288"/>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3" name="Group 2">
            <a:extLst>
              <a:ext uri="{FF2B5EF4-FFF2-40B4-BE49-F238E27FC236}">
                <a16:creationId xmlns:a16="http://schemas.microsoft.com/office/drawing/2014/main" id="{9BF140C9-D585-F7D5-8EF3-F658F637BB04}"/>
              </a:ext>
            </a:extLst>
          </p:cNvPr>
          <p:cNvGrpSpPr/>
          <p:nvPr/>
        </p:nvGrpSpPr>
        <p:grpSpPr>
          <a:xfrm>
            <a:off x="9190780" y="159786"/>
            <a:ext cx="2558308" cy="217488"/>
            <a:chOff x="9190780" y="159786"/>
            <a:chExt cx="2558308" cy="217488"/>
          </a:xfrm>
        </p:grpSpPr>
        <p:sp>
          <p:nvSpPr>
            <p:cNvPr id="5" name="Rectangle 4">
              <a:extLst>
                <a:ext uri="{FF2B5EF4-FFF2-40B4-BE49-F238E27FC236}">
                  <a16:creationId xmlns:a16="http://schemas.microsoft.com/office/drawing/2014/main" id="{9019D384-AF51-6A11-1121-E2FB9EDE90CC}"/>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663BE64C-E6B9-B456-9EF0-96B2A370B0E5}"/>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993E28E7-507E-F7BE-3E84-0EA77E93084F}"/>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8E4F55A8-22BB-87F5-DFAD-BEE795EC10EF}"/>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0931140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FCE0E3C-012B-4F30-8D46-589FB7BDFA9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flipH="1">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893539"/>
            <a:ext cx="7418387" cy="2428875"/>
          </a:xfrm>
        </p:spPr>
        <p:txBody>
          <a:bodyPr vert="horz" rtlCol="0">
            <a:normAutofit/>
          </a:bodyPr>
          <a:lstStyle/>
          <a:p>
            <a:pPr rtl="0">
              <a:lnSpc>
                <a:spcPct val="90000"/>
              </a:lnSpc>
            </a:pPr>
            <a:r>
              <a:rPr lang="en-gb" sz="4000" dirty="0"/>
              <a:t>6.2</a:t>
            </a:r>
            <a:r>
              <a:rPr lang="en-gb" sz="4000" dirty="0">
                <a:latin typeface="+mj-lt"/>
              </a:rPr>
              <a:t>.</a:t>
            </a:r>
            <a:r>
              <a:rPr lang="lv-LV" sz="4000" dirty="0">
                <a:latin typeface="+mj-lt"/>
              </a:rPr>
              <a:t> A</a:t>
            </a:r>
            <a:r>
              <a:rPr lang="en-gb" sz="4000" dirty="0" err="1"/>
              <a:t>nthropogenic</a:t>
            </a:r>
            <a:r>
              <a:rPr lang="en-gb" sz="4000" dirty="0"/>
              <a:t> disasters</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30647534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207EA338-B000-0D36-0D66-47997EEEED3E}"/>
              </a:ext>
            </a:extLst>
          </p:cNvPr>
          <p:cNvGraphicFramePr>
            <a:graphicFrameLocks noChangeAspect="1"/>
          </p:cNvGraphicFramePr>
          <p:nvPr>
            <p:custDataLst>
              <p:tags r:id="rId1"/>
            </p:custDataLst>
            <p:extLst>
              <p:ext uri="{D42A27DB-BD31-4B8C-83A1-F6EECF244321}">
                <p14:modId xmlns:p14="http://schemas.microsoft.com/office/powerpoint/2010/main" val="1766252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9" name="think-cell data - do not delete" hidden="1">
                        <a:extLst>
                          <a:ext uri="{FF2B5EF4-FFF2-40B4-BE49-F238E27FC236}">
                            <a16:creationId xmlns:a16="http://schemas.microsoft.com/office/drawing/2014/main" id="{207EA338-B000-0D36-0D66-47997EEEED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Fires</a:t>
            </a:r>
            <a:br>
              <a:rPr lang="lv-LV"/>
            </a:br>
            <a:r>
              <a:rPr lang="en-gb">
                <a:solidFill>
                  <a:srgbClr val="A8192D"/>
                </a:solidFill>
              </a:rPr>
              <a:t>How to proceed?</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19</a:t>
            </a:fld>
            <a:endParaRPr lang="en-GB"/>
          </a:p>
        </p:txBody>
      </p:sp>
      <p:grpSp>
        <p:nvGrpSpPr>
          <p:cNvPr id="3" name="Group 2">
            <a:extLst>
              <a:ext uri="{FF2B5EF4-FFF2-40B4-BE49-F238E27FC236}">
                <a16:creationId xmlns:a16="http://schemas.microsoft.com/office/drawing/2014/main" id="{8FA5ACEF-8582-8618-1B4E-B267995D34B4}"/>
              </a:ext>
            </a:extLst>
          </p:cNvPr>
          <p:cNvGrpSpPr/>
          <p:nvPr/>
        </p:nvGrpSpPr>
        <p:grpSpPr>
          <a:xfrm>
            <a:off x="8844369" y="159786"/>
            <a:ext cx="2904719" cy="220267"/>
            <a:chOff x="8844369" y="159786"/>
            <a:chExt cx="2904719" cy="220267"/>
          </a:xfrm>
        </p:grpSpPr>
        <p:sp>
          <p:nvSpPr>
            <p:cNvPr id="5" name="Rectangle 4">
              <a:extLst>
                <a:ext uri="{FF2B5EF4-FFF2-40B4-BE49-F238E27FC236}">
                  <a16:creationId xmlns:a16="http://schemas.microsoft.com/office/drawing/2014/main" id="{CCBABEB7-6940-84C0-1E8E-6B582ECF3BE7}"/>
                </a:ext>
              </a:extLst>
            </p:cNvPr>
            <p:cNvSpPr/>
            <p:nvPr/>
          </p:nvSpPr>
          <p:spPr>
            <a:xfrm>
              <a:off x="9327597" y="159786"/>
              <a:ext cx="2179876"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Anthropogenic disasters</a:t>
              </a:r>
              <a:endParaRPr kumimoji="0" lang="en-US" sz="800" b="1" i="0" u="none" strike="noStrike" kern="0" cap="none" spc="0" normalizeH="0" baseline="0" dirty="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A71AFD6F-C723-2940-794E-D2AB9D711807}"/>
                </a:ext>
              </a:extLst>
            </p:cNvPr>
            <p:cNvSpPr/>
            <p:nvPr/>
          </p:nvSpPr>
          <p:spPr>
            <a:xfrm>
              <a:off x="9085983"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17DA8AE7-054B-DF1C-2F1A-914F0CB835DF}"/>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32C548EF-E0D4-42D8-99B4-B9BC721267E2}"/>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9" name="Rectangle 8">
            <a:extLst>
              <a:ext uri="{FF2B5EF4-FFF2-40B4-BE49-F238E27FC236}">
                <a16:creationId xmlns:a16="http://schemas.microsoft.com/office/drawing/2014/main" id="{51AEE026-783E-E3BB-5DBF-66104269B8A0}"/>
              </a:ext>
            </a:extLst>
          </p:cNvPr>
          <p:cNvSpPr/>
          <p:nvPr/>
        </p:nvSpPr>
        <p:spPr>
          <a:xfrm>
            <a:off x="442913" y="1823905"/>
            <a:ext cx="38271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solidFill>
                  <a:schemeClr val="bg1"/>
                </a:solidFill>
              </a:rPr>
              <a:t>If you can get out of the room:</a:t>
            </a:r>
          </a:p>
        </p:txBody>
      </p:sp>
      <p:sp>
        <p:nvSpPr>
          <p:cNvPr id="12" name="Rectangle 11">
            <a:extLst>
              <a:ext uri="{FF2B5EF4-FFF2-40B4-BE49-F238E27FC236}">
                <a16:creationId xmlns:a16="http://schemas.microsoft.com/office/drawing/2014/main" id="{879A926F-6658-DAA7-02B9-E966021CE708}"/>
              </a:ext>
            </a:extLst>
          </p:cNvPr>
          <p:cNvSpPr/>
          <p:nvPr/>
        </p:nvSpPr>
        <p:spPr>
          <a:xfrm>
            <a:off x="1086396" y="4925768"/>
            <a:ext cx="3839154" cy="53269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spc="-50" dirty="0">
                <a:solidFill>
                  <a:srgbClr val="212529"/>
                </a:solidFill>
                <a:effectLst/>
              </a:rPr>
              <a:t>If the door feels hot when you feel it, do not open it. This can mean that there is a fire outside the door. </a:t>
            </a:r>
            <a:r>
              <a:rPr lang="en-gb" sz="1200" b="1" i="0" spc="-50" dirty="0">
                <a:solidFill>
                  <a:srgbClr val="A8192D"/>
                </a:solidFill>
                <a:effectLst/>
              </a:rPr>
              <a:t>Remember! </a:t>
            </a:r>
            <a:r>
              <a:rPr lang="en-gb" sz="1200" b="0" i="0" spc="-50" dirty="0">
                <a:solidFill>
                  <a:srgbClr val="A8192D"/>
                </a:solidFill>
                <a:effectLst/>
              </a:rPr>
              <a:t>If you open the door, flames will immediately enter the room. </a:t>
            </a:r>
          </a:p>
        </p:txBody>
      </p:sp>
      <p:sp>
        <p:nvSpPr>
          <p:cNvPr id="14" name="Rectangle 13">
            <a:extLst>
              <a:ext uri="{FF2B5EF4-FFF2-40B4-BE49-F238E27FC236}">
                <a16:creationId xmlns:a16="http://schemas.microsoft.com/office/drawing/2014/main" id="{38B7A15B-C497-C2BD-7DEB-F1C67E912EAA}"/>
              </a:ext>
            </a:extLst>
          </p:cNvPr>
          <p:cNvSpPr/>
          <p:nvPr/>
        </p:nvSpPr>
        <p:spPr>
          <a:xfrm>
            <a:off x="442913" y="4925520"/>
            <a:ext cx="576263" cy="53293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5" name="L-Shape 14">
            <a:extLst>
              <a:ext uri="{FF2B5EF4-FFF2-40B4-BE49-F238E27FC236}">
                <a16:creationId xmlns:a16="http://schemas.microsoft.com/office/drawing/2014/main" id="{04702416-3F0E-9E89-EF83-2F7826A13003}"/>
              </a:ext>
            </a:extLst>
          </p:cNvPr>
          <p:cNvSpPr/>
          <p:nvPr/>
        </p:nvSpPr>
        <p:spPr>
          <a:xfrm rot="13500000">
            <a:off x="565781" y="5055601"/>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21" name="Straight Connector 20">
            <a:extLst>
              <a:ext uri="{FF2B5EF4-FFF2-40B4-BE49-F238E27FC236}">
                <a16:creationId xmlns:a16="http://schemas.microsoft.com/office/drawing/2014/main" id="{12711565-5711-AA84-2881-C9E9AA546034}"/>
              </a:ext>
            </a:extLst>
          </p:cNvPr>
          <p:cNvCxnSpPr>
            <a:cxnSpLocks/>
          </p:cNvCxnSpPr>
          <p:nvPr/>
        </p:nvCxnSpPr>
        <p:spPr>
          <a:xfrm>
            <a:off x="1097124" y="3357039"/>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469AFEDE-0513-EBB5-6C54-3E16EF4B2074}"/>
              </a:ext>
            </a:extLst>
          </p:cNvPr>
          <p:cNvSpPr/>
          <p:nvPr/>
        </p:nvSpPr>
        <p:spPr>
          <a:xfrm>
            <a:off x="4243455" y="182390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24" name="Rectangle 23">
            <a:extLst>
              <a:ext uri="{FF2B5EF4-FFF2-40B4-BE49-F238E27FC236}">
                <a16:creationId xmlns:a16="http://schemas.microsoft.com/office/drawing/2014/main" id="{02CA6F85-C911-CD59-D704-C4579951979C}"/>
              </a:ext>
            </a:extLst>
          </p:cNvPr>
          <p:cNvSpPr/>
          <p:nvPr/>
        </p:nvSpPr>
        <p:spPr>
          <a:xfrm>
            <a:off x="4172567" y="182390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5" name="Google Shape;2220;p101">
            <a:extLst>
              <a:ext uri="{FF2B5EF4-FFF2-40B4-BE49-F238E27FC236}">
                <a16:creationId xmlns:a16="http://schemas.microsoft.com/office/drawing/2014/main" id="{3EABB975-7F14-80B7-E3B4-9998F9EC6747}"/>
              </a:ext>
            </a:extLst>
          </p:cNvPr>
          <p:cNvSpPr/>
          <p:nvPr/>
        </p:nvSpPr>
        <p:spPr>
          <a:xfrm>
            <a:off x="4387455" y="196790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111" name="Group 110">
            <a:extLst>
              <a:ext uri="{FF2B5EF4-FFF2-40B4-BE49-F238E27FC236}">
                <a16:creationId xmlns:a16="http://schemas.microsoft.com/office/drawing/2014/main" id="{4C335918-7D9C-97F0-3EEB-64ECCADA1A45}"/>
              </a:ext>
            </a:extLst>
          </p:cNvPr>
          <p:cNvGrpSpPr/>
          <p:nvPr/>
        </p:nvGrpSpPr>
        <p:grpSpPr>
          <a:xfrm>
            <a:off x="5160559" y="5463000"/>
            <a:ext cx="6571068" cy="709200"/>
            <a:chOff x="5160559" y="5463000"/>
            <a:chExt cx="6571068" cy="709200"/>
          </a:xfrm>
        </p:grpSpPr>
        <p:sp>
          <p:nvSpPr>
            <p:cNvPr id="26" name="Rectangle 25">
              <a:extLst>
                <a:ext uri="{FF2B5EF4-FFF2-40B4-BE49-F238E27FC236}">
                  <a16:creationId xmlns:a16="http://schemas.microsoft.com/office/drawing/2014/main" id="{65F98EEB-1867-24F1-F90B-94B60ABC7A1E}"/>
                </a:ext>
              </a:extLst>
            </p:cNvPr>
            <p:cNvSpPr/>
            <p:nvPr/>
          </p:nvSpPr>
          <p:spPr>
            <a:xfrm>
              <a:off x="5821364" y="5616253"/>
              <a:ext cx="5910263"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dirty="0">
                  <a:solidFill>
                    <a:srgbClr val="212529"/>
                  </a:solidFill>
                  <a:effectLst/>
                </a:rPr>
                <a:t>If you are on the ground floor of a building and can get out safely through a window, do so.</a:t>
              </a:r>
            </a:p>
          </p:txBody>
        </p:sp>
        <p:sp>
          <p:nvSpPr>
            <p:cNvPr id="27" name="Rectangle 26">
              <a:extLst>
                <a:ext uri="{FF2B5EF4-FFF2-40B4-BE49-F238E27FC236}">
                  <a16:creationId xmlns:a16="http://schemas.microsoft.com/office/drawing/2014/main" id="{2BABB28D-F02F-3E81-098C-D01A3227AEA3}"/>
                </a:ext>
              </a:extLst>
            </p:cNvPr>
            <p:cNvSpPr/>
            <p:nvPr/>
          </p:nvSpPr>
          <p:spPr>
            <a:xfrm>
              <a:off x="5160559" y="5463000"/>
              <a:ext cx="576263" cy="709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8" name="L-Shape 27">
              <a:extLst>
                <a:ext uri="{FF2B5EF4-FFF2-40B4-BE49-F238E27FC236}">
                  <a16:creationId xmlns:a16="http://schemas.microsoft.com/office/drawing/2014/main" id="{65AC1AB7-69ED-30EE-3EBA-6F49AA67C914}"/>
                </a:ext>
              </a:extLst>
            </p:cNvPr>
            <p:cNvSpPr/>
            <p:nvPr/>
          </p:nvSpPr>
          <p:spPr>
            <a:xfrm rot="13500000">
              <a:off x="5283427" y="568121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96" name="Group 95">
            <a:extLst>
              <a:ext uri="{FF2B5EF4-FFF2-40B4-BE49-F238E27FC236}">
                <a16:creationId xmlns:a16="http://schemas.microsoft.com/office/drawing/2014/main" id="{F20D40B7-8FC9-DA8E-E935-54637CFCC2B5}"/>
              </a:ext>
            </a:extLst>
          </p:cNvPr>
          <p:cNvGrpSpPr/>
          <p:nvPr/>
        </p:nvGrpSpPr>
        <p:grpSpPr>
          <a:xfrm>
            <a:off x="5160559" y="1823905"/>
            <a:ext cx="6571207" cy="709200"/>
            <a:chOff x="5160559" y="1823905"/>
            <a:chExt cx="6571207" cy="709200"/>
          </a:xfrm>
        </p:grpSpPr>
        <p:sp>
          <p:nvSpPr>
            <p:cNvPr id="29" name="Rectangle 28">
              <a:extLst>
                <a:ext uri="{FF2B5EF4-FFF2-40B4-BE49-F238E27FC236}">
                  <a16:creationId xmlns:a16="http://schemas.microsoft.com/office/drawing/2014/main" id="{D0459FDC-3233-A1DB-B051-A449292A3271}"/>
                </a:ext>
              </a:extLst>
            </p:cNvPr>
            <p:cNvSpPr/>
            <p:nvPr/>
          </p:nvSpPr>
          <p:spPr>
            <a:xfrm>
              <a:off x="5821364" y="1977158"/>
              <a:ext cx="5910402"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200">
                  <a:solidFill>
                    <a:srgbClr val="212529"/>
                  </a:solidFill>
                </a:rPr>
                <a:t>If you are safe outside or inside a building, </a:t>
              </a:r>
              <a:r>
                <a:rPr lang="en-gb" sz="1200" b="0" i="0">
                  <a:solidFill>
                    <a:srgbClr val="212529"/>
                  </a:solidFill>
                  <a:effectLst/>
                </a:rPr>
                <a:t>call </a:t>
              </a:r>
              <a:r>
                <a:rPr lang="en-gb" sz="1200" b="1" i="0">
                  <a:solidFill>
                    <a:srgbClr val="A8192D"/>
                  </a:solidFill>
                  <a:effectLst/>
                </a:rPr>
                <a:t>112.</a:t>
              </a:r>
              <a:endParaRPr lang="lv-LV" sz="1200" b="0" i="0">
                <a:solidFill>
                  <a:srgbClr val="212529"/>
                </a:solidFill>
                <a:effectLst/>
              </a:endParaRPr>
            </a:p>
          </p:txBody>
        </p:sp>
        <p:sp>
          <p:nvSpPr>
            <p:cNvPr id="30" name="Rectangle 29">
              <a:extLst>
                <a:ext uri="{FF2B5EF4-FFF2-40B4-BE49-F238E27FC236}">
                  <a16:creationId xmlns:a16="http://schemas.microsoft.com/office/drawing/2014/main" id="{56DDD360-1244-D50F-C2A3-BC5980E6824B}"/>
                </a:ext>
              </a:extLst>
            </p:cNvPr>
            <p:cNvSpPr/>
            <p:nvPr/>
          </p:nvSpPr>
          <p:spPr>
            <a:xfrm>
              <a:off x="5160559" y="1823905"/>
              <a:ext cx="576263" cy="709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1" name="L-Shape 30">
              <a:extLst>
                <a:ext uri="{FF2B5EF4-FFF2-40B4-BE49-F238E27FC236}">
                  <a16:creationId xmlns:a16="http://schemas.microsoft.com/office/drawing/2014/main" id="{49EBE8B0-7F9A-2D45-0F8F-7DE8A1AA4190}"/>
                </a:ext>
              </a:extLst>
            </p:cNvPr>
            <p:cNvSpPr/>
            <p:nvPr/>
          </p:nvSpPr>
          <p:spPr>
            <a:xfrm rot="13500000">
              <a:off x="5283427" y="2042117"/>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32" name="Straight Connector 31">
            <a:extLst>
              <a:ext uri="{FF2B5EF4-FFF2-40B4-BE49-F238E27FC236}">
                <a16:creationId xmlns:a16="http://schemas.microsoft.com/office/drawing/2014/main" id="{6FB9FF39-FB37-F7B7-7BB8-D586ABC87424}"/>
              </a:ext>
            </a:extLst>
          </p:cNvPr>
          <p:cNvCxnSpPr>
            <a:cxnSpLocks/>
          </p:cNvCxnSpPr>
          <p:nvPr/>
        </p:nvCxnSpPr>
        <p:spPr>
          <a:xfrm>
            <a:off x="5822025" y="377860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3" name="Straight Connector 32">
            <a:extLst>
              <a:ext uri="{FF2B5EF4-FFF2-40B4-BE49-F238E27FC236}">
                <a16:creationId xmlns:a16="http://schemas.microsoft.com/office/drawing/2014/main" id="{EE8A2E9F-E0AC-CE3E-DCBA-C0CF411D77C5}"/>
              </a:ext>
            </a:extLst>
          </p:cNvPr>
          <p:cNvCxnSpPr>
            <a:cxnSpLocks/>
          </p:cNvCxnSpPr>
          <p:nvPr/>
        </p:nvCxnSpPr>
        <p:spPr>
          <a:xfrm>
            <a:off x="5822025" y="5406492"/>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110" name="Group 109">
            <a:extLst>
              <a:ext uri="{FF2B5EF4-FFF2-40B4-BE49-F238E27FC236}">
                <a16:creationId xmlns:a16="http://schemas.microsoft.com/office/drawing/2014/main" id="{D8639795-6572-1F0E-36C4-49C46A91FCF9}"/>
              </a:ext>
            </a:extLst>
          </p:cNvPr>
          <p:cNvGrpSpPr/>
          <p:nvPr/>
        </p:nvGrpSpPr>
        <p:grpSpPr>
          <a:xfrm>
            <a:off x="5160559" y="4649059"/>
            <a:ext cx="6571068" cy="709200"/>
            <a:chOff x="5160559" y="4611454"/>
            <a:chExt cx="6571068" cy="709200"/>
          </a:xfrm>
        </p:grpSpPr>
        <p:sp>
          <p:nvSpPr>
            <p:cNvPr id="34" name="Rectangle 33">
              <a:extLst>
                <a:ext uri="{FF2B5EF4-FFF2-40B4-BE49-F238E27FC236}">
                  <a16:creationId xmlns:a16="http://schemas.microsoft.com/office/drawing/2014/main" id="{12F0F6C0-438D-3E18-23F6-612713CE2115}"/>
                </a:ext>
              </a:extLst>
            </p:cNvPr>
            <p:cNvSpPr/>
            <p:nvPr/>
          </p:nvSpPr>
          <p:spPr>
            <a:xfrm>
              <a:off x="5821364" y="4764707"/>
              <a:ext cx="5910263"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If possible, cover your nose and mouth with a moistened material. This will filter the smoke and make it easier to breathe.</a:t>
              </a:r>
            </a:p>
          </p:txBody>
        </p:sp>
        <p:sp>
          <p:nvSpPr>
            <p:cNvPr id="35" name="Rectangle 34">
              <a:extLst>
                <a:ext uri="{FF2B5EF4-FFF2-40B4-BE49-F238E27FC236}">
                  <a16:creationId xmlns:a16="http://schemas.microsoft.com/office/drawing/2014/main" id="{3D6C46D7-181F-52AF-3604-AEBDF87FDBC8}"/>
                </a:ext>
              </a:extLst>
            </p:cNvPr>
            <p:cNvSpPr/>
            <p:nvPr/>
          </p:nvSpPr>
          <p:spPr>
            <a:xfrm>
              <a:off x="5160559" y="4611454"/>
              <a:ext cx="576263" cy="709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6" name="L-Shape 35">
              <a:extLst>
                <a:ext uri="{FF2B5EF4-FFF2-40B4-BE49-F238E27FC236}">
                  <a16:creationId xmlns:a16="http://schemas.microsoft.com/office/drawing/2014/main" id="{E483E423-3961-DBAA-6FBD-63911D4A69DD}"/>
                </a:ext>
              </a:extLst>
            </p:cNvPr>
            <p:cNvSpPr/>
            <p:nvPr/>
          </p:nvSpPr>
          <p:spPr>
            <a:xfrm rot="13500000">
              <a:off x="5283427" y="482966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37" name="Straight Connector 36">
            <a:extLst>
              <a:ext uri="{FF2B5EF4-FFF2-40B4-BE49-F238E27FC236}">
                <a16:creationId xmlns:a16="http://schemas.microsoft.com/office/drawing/2014/main" id="{CF5AD291-53EC-695B-A24D-BBB181836C29}"/>
              </a:ext>
            </a:extLst>
          </p:cNvPr>
          <p:cNvCxnSpPr>
            <a:cxnSpLocks/>
          </p:cNvCxnSpPr>
          <p:nvPr/>
        </p:nvCxnSpPr>
        <p:spPr>
          <a:xfrm>
            <a:off x="5822025" y="4592550"/>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38" name="Group 37">
            <a:extLst>
              <a:ext uri="{FF2B5EF4-FFF2-40B4-BE49-F238E27FC236}">
                <a16:creationId xmlns:a16="http://schemas.microsoft.com/office/drawing/2014/main" id="{2EB1887D-221C-E4B7-8417-096219E6162D}"/>
              </a:ext>
            </a:extLst>
          </p:cNvPr>
          <p:cNvGrpSpPr/>
          <p:nvPr/>
        </p:nvGrpSpPr>
        <p:grpSpPr>
          <a:xfrm>
            <a:off x="440760" y="4279553"/>
            <a:ext cx="4378695" cy="576000"/>
            <a:chOff x="440760" y="4295676"/>
            <a:chExt cx="4378695" cy="576000"/>
          </a:xfrm>
        </p:grpSpPr>
        <p:sp>
          <p:nvSpPr>
            <p:cNvPr id="39" name="Rectangle 38">
              <a:extLst>
                <a:ext uri="{FF2B5EF4-FFF2-40B4-BE49-F238E27FC236}">
                  <a16:creationId xmlns:a16="http://schemas.microsoft.com/office/drawing/2014/main" id="{42044179-A7C4-A21E-8EB7-F8E783F23B44}"/>
                </a:ext>
              </a:extLst>
            </p:cNvPr>
            <p:cNvSpPr/>
            <p:nvPr/>
          </p:nvSpPr>
          <p:spPr>
            <a:xfrm>
              <a:off x="440760" y="4295676"/>
              <a:ext cx="373180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solidFill>
                    <a:schemeClr val="bg1"/>
                  </a:solidFill>
                </a:rPr>
                <a:t>If you can't get out of the room:</a:t>
              </a:r>
            </a:p>
          </p:txBody>
        </p:sp>
        <p:grpSp>
          <p:nvGrpSpPr>
            <p:cNvPr id="40" name="Group 39">
              <a:extLst>
                <a:ext uri="{FF2B5EF4-FFF2-40B4-BE49-F238E27FC236}">
                  <a16:creationId xmlns:a16="http://schemas.microsoft.com/office/drawing/2014/main" id="{370C27F8-9725-3DD4-FB9B-9677E9941B68}"/>
                </a:ext>
              </a:extLst>
            </p:cNvPr>
            <p:cNvGrpSpPr/>
            <p:nvPr/>
          </p:nvGrpSpPr>
          <p:grpSpPr>
            <a:xfrm>
              <a:off x="4172567" y="4295676"/>
              <a:ext cx="646888" cy="576000"/>
              <a:chOff x="10365507" y="1819275"/>
              <a:chExt cx="646888" cy="576000"/>
            </a:xfrm>
          </p:grpSpPr>
          <p:sp>
            <p:nvSpPr>
              <p:cNvPr id="41" name="Rectangle 40">
                <a:extLst>
                  <a:ext uri="{FF2B5EF4-FFF2-40B4-BE49-F238E27FC236}">
                    <a16:creationId xmlns:a16="http://schemas.microsoft.com/office/drawing/2014/main" id="{9632B7FD-1405-7102-7EF8-8DFD4FC32F96}"/>
                  </a:ext>
                </a:extLst>
              </p:cNvPr>
              <p:cNvSpPr/>
              <p:nvPr/>
            </p:nvSpPr>
            <p:spPr>
              <a:xfrm>
                <a:off x="10436395"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42" name="Rectangle 41">
                <a:extLst>
                  <a:ext uri="{FF2B5EF4-FFF2-40B4-BE49-F238E27FC236}">
                    <a16:creationId xmlns:a16="http://schemas.microsoft.com/office/drawing/2014/main" id="{30D50E05-C7F7-47E3-AD41-5DFB232A0F53}"/>
                  </a:ext>
                </a:extLst>
              </p:cNvPr>
              <p:cNvSpPr/>
              <p:nvPr/>
            </p:nvSpPr>
            <p:spPr>
              <a:xfrm>
                <a:off x="10365507"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43" name="Google Shape;1770;p93">
                <a:extLst>
                  <a:ext uri="{FF2B5EF4-FFF2-40B4-BE49-F238E27FC236}">
                    <a16:creationId xmlns:a16="http://schemas.microsoft.com/office/drawing/2014/main" id="{62FE14F5-3264-56DA-B41B-6618760D6BFA}"/>
                  </a:ext>
                </a:extLst>
              </p:cNvPr>
              <p:cNvGrpSpPr/>
              <p:nvPr/>
            </p:nvGrpSpPr>
            <p:grpSpPr>
              <a:xfrm>
                <a:off x="10580362" y="1963275"/>
                <a:ext cx="287998" cy="288000"/>
                <a:chOff x="7461366" y="2560815"/>
                <a:chExt cx="457200" cy="457200"/>
              </a:xfrm>
              <a:solidFill>
                <a:schemeClr val="bg1"/>
              </a:solidFill>
            </p:grpSpPr>
            <p:grpSp>
              <p:nvGrpSpPr>
                <p:cNvPr id="44" name="Google Shape;1771;p93">
                  <a:extLst>
                    <a:ext uri="{FF2B5EF4-FFF2-40B4-BE49-F238E27FC236}">
                      <a16:creationId xmlns:a16="http://schemas.microsoft.com/office/drawing/2014/main" id="{7F26F8BC-AA95-3BD5-F84B-20FE27DC8B59}"/>
                    </a:ext>
                  </a:extLst>
                </p:cNvPr>
                <p:cNvGrpSpPr/>
                <p:nvPr/>
              </p:nvGrpSpPr>
              <p:grpSpPr>
                <a:xfrm>
                  <a:off x="7461366" y="2560815"/>
                  <a:ext cx="457200" cy="457200"/>
                  <a:chOff x="7461366" y="2560815"/>
                  <a:chExt cx="457200" cy="457200"/>
                </a:xfrm>
                <a:grpFill/>
              </p:grpSpPr>
              <p:sp>
                <p:nvSpPr>
                  <p:cNvPr id="48" name="Google Shape;1772;p93">
                    <a:extLst>
                      <a:ext uri="{FF2B5EF4-FFF2-40B4-BE49-F238E27FC236}">
                        <a16:creationId xmlns:a16="http://schemas.microsoft.com/office/drawing/2014/main" id="{C6FD9AA1-7752-5B19-449C-335C52BCAE8E}"/>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9" name="Google Shape;1773;p93">
                    <a:extLst>
                      <a:ext uri="{FF2B5EF4-FFF2-40B4-BE49-F238E27FC236}">
                        <a16:creationId xmlns:a16="http://schemas.microsoft.com/office/drawing/2014/main" id="{387EFBA1-B2F1-6EF4-6CB9-794049C807C4}"/>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3" name="Google Shape;1774;p93">
                    <a:extLst>
                      <a:ext uri="{FF2B5EF4-FFF2-40B4-BE49-F238E27FC236}">
                        <a16:creationId xmlns:a16="http://schemas.microsoft.com/office/drawing/2014/main" id="{F0E3A50C-1868-8AED-90C2-95CED2A8795B}"/>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5" name="Google Shape;1775;p93">
                    <a:extLst>
                      <a:ext uri="{FF2B5EF4-FFF2-40B4-BE49-F238E27FC236}">
                        <a16:creationId xmlns:a16="http://schemas.microsoft.com/office/drawing/2014/main" id="{1D0F5AB7-159C-F40C-C6DB-E6178C1DDB62}"/>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46" name="Google Shape;1776;p93">
                  <a:extLst>
                    <a:ext uri="{FF2B5EF4-FFF2-40B4-BE49-F238E27FC236}">
                      <a16:creationId xmlns:a16="http://schemas.microsoft.com/office/drawing/2014/main" id="{79923EC4-5561-B1C6-F26F-59167A1DD5EC}"/>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grpSp>
      <p:cxnSp>
        <p:nvCxnSpPr>
          <p:cNvPr id="56" name="Straight Connector 55">
            <a:extLst>
              <a:ext uri="{FF2B5EF4-FFF2-40B4-BE49-F238E27FC236}">
                <a16:creationId xmlns:a16="http://schemas.microsoft.com/office/drawing/2014/main" id="{580FC50D-4710-A5D4-477D-599F2A77B01F}"/>
              </a:ext>
            </a:extLst>
          </p:cNvPr>
          <p:cNvCxnSpPr>
            <a:cxnSpLocks/>
          </p:cNvCxnSpPr>
          <p:nvPr/>
        </p:nvCxnSpPr>
        <p:spPr>
          <a:xfrm>
            <a:off x="1202862" y="5528426"/>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7" name="Rectangle 56">
            <a:extLst>
              <a:ext uri="{FF2B5EF4-FFF2-40B4-BE49-F238E27FC236}">
                <a16:creationId xmlns:a16="http://schemas.microsoft.com/office/drawing/2014/main" id="{3C0183CD-5845-05C7-D216-BF050B7282B4}"/>
              </a:ext>
            </a:extLst>
          </p:cNvPr>
          <p:cNvSpPr/>
          <p:nvPr/>
        </p:nvSpPr>
        <p:spPr>
          <a:xfrm>
            <a:off x="442913" y="5599981"/>
            <a:ext cx="576263" cy="57221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8" name="L-Shape 57">
            <a:extLst>
              <a:ext uri="{FF2B5EF4-FFF2-40B4-BE49-F238E27FC236}">
                <a16:creationId xmlns:a16="http://schemas.microsoft.com/office/drawing/2014/main" id="{981760B5-459C-03C6-72A8-E29D8F60AF71}"/>
              </a:ext>
            </a:extLst>
          </p:cNvPr>
          <p:cNvSpPr/>
          <p:nvPr/>
        </p:nvSpPr>
        <p:spPr>
          <a:xfrm rot="13500000">
            <a:off x="565781" y="574970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9" name="Rectangle 58">
            <a:extLst>
              <a:ext uri="{FF2B5EF4-FFF2-40B4-BE49-F238E27FC236}">
                <a16:creationId xmlns:a16="http://schemas.microsoft.com/office/drawing/2014/main" id="{832B2F95-73B0-29EB-38D5-C0F7E24D784C}"/>
              </a:ext>
            </a:extLst>
          </p:cNvPr>
          <p:cNvSpPr/>
          <p:nvPr/>
        </p:nvSpPr>
        <p:spPr>
          <a:xfrm>
            <a:off x="1086395" y="5604476"/>
            <a:ext cx="3839733" cy="56772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If the door is hot, plug the door</a:t>
            </a:r>
            <a:r>
              <a:rPr lang="en-gb" sz="1200">
                <a:solidFill>
                  <a:srgbClr val="212529"/>
                </a:solidFill>
              </a:rPr>
              <a:t> </a:t>
            </a:r>
            <a:r>
              <a:rPr lang="en-gb" sz="1200" b="0" i="0">
                <a:solidFill>
                  <a:srgbClr val="212529"/>
                </a:solidFill>
                <a:effectLst/>
              </a:rPr>
              <a:t>gaps. </a:t>
            </a:r>
            <a:r>
              <a:rPr lang="en-gb" sz="1200" b="1" i="0">
                <a:solidFill>
                  <a:srgbClr val="A8192D"/>
                </a:solidFill>
                <a:effectLst/>
              </a:rPr>
              <a:t>Remember! </a:t>
            </a:r>
            <a:r>
              <a:rPr lang="en-gb" sz="1200" b="0" i="0">
                <a:solidFill>
                  <a:srgbClr val="A8192D"/>
                </a:solidFill>
                <a:effectLst/>
              </a:rPr>
              <a:t>Wet towels and blankets are best for this. Sheets, clothes are also useful</a:t>
            </a:r>
            <a:r>
              <a:rPr lang="en-gb" sz="1200" b="0" i="0">
                <a:solidFill>
                  <a:srgbClr val="212529"/>
                </a:solidFill>
                <a:effectLst/>
              </a:rPr>
              <a:t>.</a:t>
            </a:r>
          </a:p>
        </p:txBody>
      </p:sp>
      <p:grpSp>
        <p:nvGrpSpPr>
          <p:cNvPr id="97" name="Group 96">
            <a:extLst>
              <a:ext uri="{FF2B5EF4-FFF2-40B4-BE49-F238E27FC236}">
                <a16:creationId xmlns:a16="http://schemas.microsoft.com/office/drawing/2014/main" id="{40F4994B-1145-82B6-EC02-E5C9CCEE65F7}"/>
              </a:ext>
            </a:extLst>
          </p:cNvPr>
          <p:cNvGrpSpPr/>
          <p:nvPr/>
        </p:nvGrpSpPr>
        <p:grpSpPr>
          <a:xfrm>
            <a:off x="5160559" y="2637847"/>
            <a:ext cx="6790649" cy="1092528"/>
            <a:chOff x="5160559" y="2600141"/>
            <a:chExt cx="6588529" cy="1092528"/>
          </a:xfrm>
        </p:grpSpPr>
        <p:sp>
          <p:nvSpPr>
            <p:cNvPr id="60" name="Rectangle 59">
              <a:extLst>
                <a:ext uri="{FF2B5EF4-FFF2-40B4-BE49-F238E27FC236}">
                  <a16:creationId xmlns:a16="http://schemas.microsoft.com/office/drawing/2014/main" id="{69AC082A-899D-C3B0-421D-F82747759664}"/>
                </a:ext>
              </a:extLst>
            </p:cNvPr>
            <p:cNvSpPr/>
            <p:nvPr/>
          </p:nvSpPr>
          <p:spPr>
            <a:xfrm>
              <a:off x="5821364" y="2675658"/>
              <a:ext cx="5927724" cy="94190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100" dirty="0">
                  <a:solidFill>
                    <a:srgbClr val="212529"/>
                  </a:solidFill>
                </a:rPr>
                <a:t>If there is a little smoke in the room, crawl</a:t>
              </a:r>
              <a:r>
                <a:rPr lang="en-gb" sz="1100" b="0" i="0" dirty="0">
                  <a:solidFill>
                    <a:srgbClr val="212529"/>
                  </a:solidFill>
                  <a:effectLst/>
                </a:rPr>
                <a:t> to the window, slowly open it and shout "Help</a:t>
              </a:r>
              <a:r>
                <a:rPr lang="en-gb" sz="1100" dirty="0">
                  <a:solidFill>
                    <a:srgbClr val="212529"/>
                  </a:solidFill>
                </a:rPr>
                <a:t>!" </a:t>
              </a:r>
              <a:r>
                <a:rPr lang="en-gb" sz="1100" dirty="0">
                  <a:solidFill>
                    <a:schemeClr val="tx1"/>
                  </a:solidFill>
                </a:rPr>
                <a:t>and</a:t>
              </a:r>
              <a:r>
                <a:rPr lang="lv-LV" sz="1100" dirty="0">
                  <a:solidFill>
                    <a:schemeClr val="tx1"/>
                  </a:solidFill>
                </a:rPr>
                <a:t> </a:t>
              </a:r>
              <a:r>
                <a:rPr lang="lv-LV" sz="1100" dirty="0" err="1">
                  <a:solidFill>
                    <a:schemeClr val="tx1"/>
                  </a:solidFill>
                </a:rPr>
                <a:t>use</a:t>
              </a:r>
              <a:r>
                <a:rPr lang="en-gb" sz="1100" dirty="0">
                  <a:solidFill>
                    <a:schemeClr val="tx1"/>
                  </a:solidFill>
                </a:rPr>
                <a:t> other ways to draw attention to yourself.</a:t>
              </a:r>
              <a:r>
                <a:rPr lang="en-gb" sz="1100" b="0" i="0" dirty="0">
                  <a:solidFill>
                    <a:schemeClr val="tx1"/>
                  </a:solidFill>
                  <a:effectLst/>
                </a:rPr>
                <a:t> </a:t>
              </a:r>
              <a:r>
                <a:rPr lang="en-gb" sz="1100" b="1" i="0" dirty="0">
                  <a:solidFill>
                    <a:srgbClr val="A8192D"/>
                  </a:solidFill>
                  <a:effectLst/>
                </a:rPr>
                <a:t>Remember! </a:t>
              </a:r>
              <a:r>
                <a:rPr lang="en-gb" sz="1100" b="0" i="0" dirty="0">
                  <a:solidFill>
                    <a:srgbClr val="A8192D"/>
                  </a:solidFill>
                  <a:effectLst/>
                </a:rPr>
                <a:t>Opening the window completely will create a draft that will contribute to the smoke entering the room.</a:t>
              </a:r>
              <a:r>
                <a:rPr lang="en-gb" sz="1100" b="0" i="0" dirty="0">
                  <a:solidFill>
                    <a:srgbClr val="212529"/>
                  </a:solidFill>
                  <a:effectLst/>
                </a:rPr>
                <a:t> Keep in mind that only in cases of extreme necessity should you open the window completely or break the glass. Smoke can also enter the room from outside the house by opening a window completely or breaking the glass. In addition, if the glass is broken, you will no longer be able to close the window.</a:t>
              </a:r>
            </a:p>
          </p:txBody>
        </p:sp>
        <p:sp>
          <p:nvSpPr>
            <p:cNvPr id="61" name="Rectangle 60">
              <a:extLst>
                <a:ext uri="{FF2B5EF4-FFF2-40B4-BE49-F238E27FC236}">
                  <a16:creationId xmlns:a16="http://schemas.microsoft.com/office/drawing/2014/main" id="{3E9975CB-98C1-D63F-B31F-2DF004165B9A}"/>
                </a:ext>
              </a:extLst>
            </p:cNvPr>
            <p:cNvSpPr/>
            <p:nvPr/>
          </p:nvSpPr>
          <p:spPr>
            <a:xfrm>
              <a:off x="5160559" y="2600141"/>
              <a:ext cx="576263" cy="109252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100" b="1"/>
            </a:p>
          </p:txBody>
        </p:sp>
        <p:sp>
          <p:nvSpPr>
            <p:cNvPr id="65" name="L-Shape 64">
              <a:extLst>
                <a:ext uri="{FF2B5EF4-FFF2-40B4-BE49-F238E27FC236}">
                  <a16:creationId xmlns:a16="http://schemas.microsoft.com/office/drawing/2014/main" id="{AB29024C-E5B6-39F7-7184-9CA1F128ECD5}"/>
                </a:ext>
              </a:extLst>
            </p:cNvPr>
            <p:cNvSpPr/>
            <p:nvPr/>
          </p:nvSpPr>
          <p:spPr>
            <a:xfrm rot="13500000">
              <a:off x="5283427" y="3010016"/>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100"/>
            </a:p>
          </p:txBody>
        </p:sp>
      </p:grpSp>
      <p:cxnSp>
        <p:nvCxnSpPr>
          <p:cNvPr id="69" name="Straight Connector 68">
            <a:extLst>
              <a:ext uri="{FF2B5EF4-FFF2-40B4-BE49-F238E27FC236}">
                <a16:creationId xmlns:a16="http://schemas.microsoft.com/office/drawing/2014/main" id="{62ADF71A-913A-C361-3477-FA98B60521EE}"/>
              </a:ext>
            </a:extLst>
          </p:cNvPr>
          <p:cNvCxnSpPr>
            <a:cxnSpLocks/>
          </p:cNvCxnSpPr>
          <p:nvPr/>
        </p:nvCxnSpPr>
        <p:spPr>
          <a:xfrm>
            <a:off x="5822025" y="258133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109" name="Group 108">
            <a:extLst>
              <a:ext uri="{FF2B5EF4-FFF2-40B4-BE49-F238E27FC236}">
                <a16:creationId xmlns:a16="http://schemas.microsoft.com/office/drawing/2014/main" id="{3DDF5F00-935D-4285-798A-D647982E65FB}"/>
              </a:ext>
            </a:extLst>
          </p:cNvPr>
          <p:cNvGrpSpPr/>
          <p:nvPr/>
        </p:nvGrpSpPr>
        <p:grpSpPr>
          <a:xfrm>
            <a:off x="5160559" y="3835117"/>
            <a:ext cx="6571068" cy="709200"/>
            <a:chOff x="5160559" y="3759910"/>
            <a:chExt cx="6571068" cy="709200"/>
          </a:xfrm>
        </p:grpSpPr>
        <p:sp>
          <p:nvSpPr>
            <p:cNvPr id="70" name="Rectangle 69">
              <a:extLst>
                <a:ext uri="{FF2B5EF4-FFF2-40B4-BE49-F238E27FC236}">
                  <a16:creationId xmlns:a16="http://schemas.microsoft.com/office/drawing/2014/main" id="{7207570D-6BC3-69BD-FC5C-45A6B952F966}"/>
                </a:ext>
              </a:extLst>
            </p:cNvPr>
            <p:cNvSpPr/>
            <p:nvPr/>
          </p:nvSpPr>
          <p:spPr>
            <a:xfrm>
              <a:off x="5821364" y="3913163"/>
              <a:ext cx="5910263"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dirty="0">
                  <a:solidFill>
                    <a:srgbClr val="212529"/>
                  </a:solidFill>
                  <a:effectLst/>
                </a:rPr>
                <a:t>Keep low to the window, this will allow you to breathe fresh air from outside and avoid the smoke that will slowly fill the room.</a:t>
              </a:r>
            </a:p>
          </p:txBody>
        </p:sp>
        <p:sp>
          <p:nvSpPr>
            <p:cNvPr id="71" name="Rectangle 70">
              <a:extLst>
                <a:ext uri="{FF2B5EF4-FFF2-40B4-BE49-F238E27FC236}">
                  <a16:creationId xmlns:a16="http://schemas.microsoft.com/office/drawing/2014/main" id="{8AD510F6-20D5-AA5F-1048-A914947DAD38}"/>
                </a:ext>
              </a:extLst>
            </p:cNvPr>
            <p:cNvSpPr/>
            <p:nvPr/>
          </p:nvSpPr>
          <p:spPr>
            <a:xfrm>
              <a:off x="5160559" y="3759910"/>
              <a:ext cx="576263" cy="709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7" name="L-Shape 76">
              <a:extLst>
                <a:ext uri="{FF2B5EF4-FFF2-40B4-BE49-F238E27FC236}">
                  <a16:creationId xmlns:a16="http://schemas.microsoft.com/office/drawing/2014/main" id="{3432C0A4-405D-441A-EB86-A22F12BE4238}"/>
                </a:ext>
              </a:extLst>
            </p:cNvPr>
            <p:cNvSpPr/>
            <p:nvPr/>
          </p:nvSpPr>
          <p:spPr>
            <a:xfrm rot="13500000">
              <a:off x="5283427" y="397812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78" name="Rectangle 77">
            <a:extLst>
              <a:ext uri="{FF2B5EF4-FFF2-40B4-BE49-F238E27FC236}">
                <a16:creationId xmlns:a16="http://schemas.microsoft.com/office/drawing/2014/main" id="{BE3E5224-9CA3-6737-AB60-A9BC8A74B53B}"/>
              </a:ext>
            </a:extLst>
          </p:cNvPr>
          <p:cNvSpPr/>
          <p:nvPr/>
        </p:nvSpPr>
        <p:spPr>
          <a:xfrm>
            <a:off x="1086395" y="2469872"/>
            <a:ext cx="3839153" cy="81369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If the door is not hot when you feel it, open it a little and make sure there is no smoke or fire outside.</a:t>
            </a:r>
          </a:p>
        </p:txBody>
      </p:sp>
      <p:sp>
        <p:nvSpPr>
          <p:cNvPr id="79" name="Rectangle 78">
            <a:extLst>
              <a:ext uri="{FF2B5EF4-FFF2-40B4-BE49-F238E27FC236}">
                <a16:creationId xmlns:a16="http://schemas.microsoft.com/office/drawing/2014/main" id="{439A9964-36BC-352E-237D-2106921EBD2A}"/>
              </a:ext>
            </a:extLst>
          </p:cNvPr>
          <p:cNvSpPr/>
          <p:nvPr/>
        </p:nvSpPr>
        <p:spPr>
          <a:xfrm>
            <a:off x="442913" y="2469872"/>
            <a:ext cx="576263" cy="817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4" name="L-Shape 83">
            <a:extLst>
              <a:ext uri="{FF2B5EF4-FFF2-40B4-BE49-F238E27FC236}">
                <a16:creationId xmlns:a16="http://schemas.microsoft.com/office/drawing/2014/main" id="{5A219F35-D58F-CAEF-157C-5D3E3F42A40E}"/>
              </a:ext>
            </a:extLst>
          </p:cNvPr>
          <p:cNvSpPr/>
          <p:nvPr/>
        </p:nvSpPr>
        <p:spPr>
          <a:xfrm rot="13500000">
            <a:off x="565782" y="27420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5" name="Rectangle 84">
            <a:extLst>
              <a:ext uri="{FF2B5EF4-FFF2-40B4-BE49-F238E27FC236}">
                <a16:creationId xmlns:a16="http://schemas.microsoft.com/office/drawing/2014/main" id="{08B6BEF4-3A2A-EA8B-9B23-1077D45E646B}"/>
              </a:ext>
            </a:extLst>
          </p:cNvPr>
          <p:cNvSpPr/>
          <p:nvPr/>
        </p:nvSpPr>
        <p:spPr>
          <a:xfrm>
            <a:off x="1086395" y="3526541"/>
            <a:ext cx="3839153" cy="62831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spc="-20">
                <a:solidFill>
                  <a:srgbClr val="212529"/>
                </a:solidFill>
                <a:effectLst/>
              </a:rPr>
              <a:t>Close the door when you leave the room. This will reduce the spread of fire and protect property.</a:t>
            </a:r>
          </a:p>
        </p:txBody>
      </p:sp>
      <p:sp>
        <p:nvSpPr>
          <p:cNvPr id="86" name="Rectangle 85">
            <a:extLst>
              <a:ext uri="{FF2B5EF4-FFF2-40B4-BE49-F238E27FC236}">
                <a16:creationId xmlns:a16="http://schemas.microsoft.com/office/drawing/2014/main" id="{7DBFE9F6-0EC2-4655-B74B-264807A61F4D}"/>
              </a:ext>
            </a:extLst>
          </p:cNvPr>
          <p:cNvSpPr/>
          <p:nvPr/>
        </p:nvSpPr>
        <p:spPr>
          <a:xfrm>
            <a:off x="442913" y="3428594"/>
            <a:ext cx="576263" cy="78099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7" name="L-Shape 86">
            <a:extLst>
              <a:ext uri="{FF2B5EF4-FFF2-40B4-BE49-F238E27FC236}">
                <a16:creationId xmlns:a16="http://schemas.microsoft.com/office/drawing/2014/main" id="{B1411005-2AD1-BD0C-EC52-E1836D2C47CA}"/>
              </a:ext>
            </a:extLst>
          </p:cNvPr>
          <p:cNvSpPr/>
          <p:nvPr/>
        </p:nvSpPr>
        <p:spPr>
          <a:xfrm rot="13500000">
            <a:off x="565781" y="368270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Tree>
    <p:extLst>
      <p:ext uri="{BB962C8B-B14F-4D97-AF65-F5344CB8AC3E}">
        <p14:creationId xmlns:p14="http://schemas.microsoft.com/office/powerpoint/2010/main" val="397739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rtlCol="0"/>
          <a:lstStyle/>
          <a:p>
            <a:pPr rtl="0"/>
            <a:r>
              <a:rPr lang="en-gb"/>
              <a:t>Tasks</a:t>
            </a:r>
            <a:endParaRPr lang="en-US"/>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rtlCol="0"/>
          <a:lstStyle/>
          <a:p>
            <a:pPr rtl="0"/>
            <a:fld id="{7870704B-CE94-48CC-AF30-84932A1262A7}" type="slidenum">
              <a:rPr lang="en-GB" dirty="0" smtClean="0"/>
              <a:pPr rtl="0"/>
              <a:t>2</a:t>
            </a:fld>
            <a:endParaRPr lang="en-GB" dirty="0"/>
          </a:p>
        </p:txBody>
      </p:sp>
      <p:sp>
        <p:nvSpPr>
          <p:cNvPr id="3" name="TextBox 2">
            <a:extLst>
              <a:ext uri="{FF2B5EF4-FFF2-40B4-BE49-F238E27FC236}">
                <a16:creationId xmlns:a16="http://schemas.microsoft.com/office/drawing/2014/main" id="{4EF6DB77-182C-C281-1C2F-C2E2D9AB6583}"/>
              </a:ext>
            </a:extLst>
          </p:cNvPr>
          <p:cNvSpPr txBox="1"/>
          <p:nvPr/>
        </p:nvSpPr>
        <p:spPr>
          <a:xfrm>
            <a:off x="6268782" y="1813238"/>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600"/>
              </a:spcAft>
            </a:pPr>
            <a:r>
              <a:rPr lang="lv-LV" sz="1600" dirty="0" err="1">
                <a:cs typeface="Arial"/>
              </a:rPr>
              <a:t>Educatees</a:t>
            </a:r>
            <a:r>
              <a:rPr lang="en-gb" sz="1600" dirty="0">
                <a:cs typeface="Arial"/>
              </a:rPr>
              <a:t>:</a:t>
            </a:r>
          </a:p>
          <a:p>
            <a:pPr marL="742950" lvl="3" indent="-285750" rtl="0">
              <a:spcAft>
                <a:spcPts val="600"/>
              </a:spcAft>
              <a:buBlip>
                <a:blip r:embed="rId2"/>
              </a:buBlip>
            </a:pPr>
            <a:r>
              <a:rPr lang="en-gb" sz="1600" dirty="0">
                <a:cs typeface="Arial"/>
              </a:rPr>
              <a:t>know the algorithms to follow in the event of a disaster,</a:t>
            </a:r>
          </a:p>
          <a:p>
            <a:pPr marL="742950" lvl="3" indent="-285750" rtl="0">
              <a:spcAft>
                <a:spcPts val="600"/>
              </a:spcAft>
              <a:buBlip>
                <a:blip r:embed="rId2"/>
              </a:buBlip>
            </a:pPr>
            <a:r>
              <a:rPr lang="en-gb" sz="1600" dirty="0">
                <a:cs typeface="Arial"/>
              </a:rPr>
              <a:t>understand the importance of individual preparedness and the actions to be taken to achieve it.</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spcAft>
                <a:spcPts val="600"/>
              </a:spcAft>
              <a:buSzPct val="100000"/>
            </a:pPr>
            <a:r>
              <a:rPr lang="lv-LV" sz="3600" dirty="0" err="1">
                <a:latin typeface="Georgia"/>
                <a:cs typeface="Arial"/>
              </a:rPr>
              <a:t>Intended</a:t>
            </a:r>
            <a:r>
              <a:rPr lang="en-gb" sz="3600" dirty="0">
                <a:latin typeface="Georgia"/>
                <a:cs typeface="Arial"/>
              </a:rPr>
              <a:t> results</a:t>
            </a:r>
            <a:endParaRPr lang="en-GB" sz="3600" dirty="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09"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dirty="0">
                <a:cs typeface="Arial"/>
              </a:rPr>
              <a:t>To introduce </a:t>
            </a:r>
            <a:r>
              <a:rPr lang="lv-LV" sz="1600" dirty="0" err="1">
                <a:cs typeface="Arial"/>
              </a:rPr>
              <a:t>educatees</a:t>
            </a:r>
            <a:r>
              <a:rPr lang="en-gb" sz="1600" dirty="0">
                <a:cs typeface="Arial"/>
              </a:rPr>
              <a:t> to: </a:t>
            </a:r>
          </a:p>
          <a:p>
            <a:pPr marL="740664" indent="-285750" rtl="0">
              <a:spcAft>
                <a:spcPts val="600"/>
              </a:spcAft>
              <a:buBlip>
                <a:blip r:embed="rId2"/>
              </a:buBlip>
            </a:pPr>
            <a:r>
              <a:rPr lang="en-gb" sz="1600" dirty="0">
                <a:cs typeface="Arial"/>
              </a:rPr>
              <a:t>algorithms for dealing with disasters.</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2951719"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2911" y="4402207"/>
            <a:ext cx="11309609" cy="1769992"/>
          </a:xfrm>
          <a:prstGeom prst="rect">
            <a:avLst/>
          </a:prstGeom>
        </p:spPr>
      </p:pic>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hink-cell data - do not delete" hidden="1">
            <a:extLst>
              <a:ext uri="{FF2B5EF4-FFF2-40B4-BE49-F238E27FC236}">
                <a16:creationId xmlns:a16="http://schemas.microsoft.com/office/drawing/2014/main" id="{1013037E-935B-A5CB-39B6-CB91F8A7E7BE}"/>
              </a:ext>
            </a:extLst>
          </p:cNvPr>
          <p:cNvGraphicFramePr>
            <a:graphicFrameLocks noChangeAspect="1"/>
          </p:cNvGraphicFramePr>
          <p:nvPr>
            <p:custDataLst>
              <p:tags r:id="rId1"/>
            </p:custDataLst>
            <p:extLst>
              <p:ext uri="{D42A27DB-BD31-4B8C-83A1-F6EECF244321}">
                <p14:modId xmlns:p14="http://schemas.microsoft.com/office/powerpoint/2010/main" val="4262503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2" name="think-cell data - do not delete" hidden="1">
                        <a:extLst>
                          <a:ext uri="{FF2B5EF4-FFF2-40B4-BE49-F238E27FC236}">
                            <a16:creationId xmlns:a16="http://schemas.microsoft.com/office/drawing/2014/main" id="{1013037E-935B-A5CB-39B6-CB91F8A7E7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Rectangle 44">
            <a:extLst>
              <a:ext uri="{FF2B5EF4-FFF2-40B4-BE49-F238E27FC236}">
                <a16:creationId xmlns:a16="http://schemas.microsoft.com/office/drawing/2014/main" id="{4066550C-0902-1D56-5FEF-C451D7B8B7C3}"/>
              </a:ext>
            </a:extLst>
          </p:cNvPr>
          <p:cNvSpPr/>
          <p:nvPr/>
        </p:nvSpPr>
        <p:spPr>
          <a:xfrm>
            <a:off x="6813334" y="3961847"/>
            <a:ext cx="4948238"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Gently pull the victim out of the car.</a:t>
            </a:r>
            <a:endParaRPr lang="lv-LV" sz="1200" b="0" i="0">
              <a:solidFill>
                <a:schemeClr val="tx1"/>
              </a:solidFill>
              <a:effectLst/>
            </a:endParaRPr>
          </a:p>
        </p:txBody>
      </p:sp>
      <p:sp>
        <p:nvSpPr>
          <p:cNvPr id="44" name="TextBox 43">
            <a:extLst>
              <a:ext uri="{FF2B5EF4-FFF2-40B4-BE49-F238E27FC236}">
                <a16:creationId xmlns:a16="http://schemas.microsoft.com/office/drawing/2014/main" id="{221BB2F2-B9CC-88CF-A57E-DC6071DDD22F}"/>
              </a:ext>
            </a:extLst>
          </p:cNvPr>
          <p:cNvSpPr txBox="1"/>
          <p:nvPr/>
        </p:nvSpPr>
        <p:spPr>
          <a:xfrm>
            <a:off x="442912" y="2492553"/>
            <a:ext cx="11306175" cy="692659"/>
          </a:xfrm>
          <a:prstGeom prst="rect">
            <a:avLst/>
          </a:prstGeom>
          <a:solidFill>
            <a:schemeClr val="bg1">
              <a:lumMod val="95000"/>
            </a:schemeClr>
          </a:solidFill>
        </p:spPr>
        <p:txBody>
          <a:bodyPr wrap="square" lIns="72000" tIns="72000" rIns="144000" bIns="72000" numCol="2" rtlCol="0" anchor="ctr">
            <a:noAutofit/>
          </a:bodyPr>
          <a:lstStyle/>
          <a:p>
            <a:pPr marL="285750" indent="-285750" rtl="0">
              <a:spcAft>
                <a:spcPts val="300"/>
              </a:spcAft>
              <a:buSzPct val="100000"/>
              <a:buBlip>
                <a:blip r:embed="rId6"/>
              </a:buBlip>
            </a:pPr>
            <a:r>
              <a:rPr lang="en-gb" sz="1200" kern="100" spc="10">
                <a:cs typeface="Times New Roman"/>
              </a:rPr>
              <a:t>Stop your car at a safe distance from the accident.</a:t>
            </a:r>
          </a:p>
          <a:p>
            <a:pPr marL="285750" indent="-285750" rtl="0">
              <a:spcAft>
                <a:spcPts val="300"/>
              </a:spcAft>
              <a:buSzPct val="100000"/>
              <a:buBlip>
                <a:blip r:embed="rId6"/>
              </a:buBlip>
            </a:pPr>
            <a:r>
              <a:rPr lang="en-gb" sz="1200" kern="100" spc="10">
                <a:cs typeface="Times New Roman"/>
              </a:rPr>
              <a:t>Switch on your car's hazard lights.</a:t>
            </a:r>
          </a:p>
          <a:p>
            <a:pPr marL="285750" indent="-285750" rtl="0">
              <a:spcAft>
                <a:spcPts val="300"/>
              </a:spcAft>
              <a:buSzPct val="100000"/>
              <a:buBlip>
                <a:blip r:embed="rId6"/>
              </a:buBlip>
            </a:pPr>
            <a:r>
              <a:rPr lang="en-gb" sz="1200" kern="100" spc="10">
                <a:cs typeface="Times New Roman"/>
              </a:rPr>
              <a:t>Take a first aid kit, emergency sign.</a:t>
            </a:r>
          </a:p>
          <a:p>
            <a:pPr marL="285750" indent="-285750" rtl="0">
              <a:spcAft>
                <a:spcPts val="300"/>
              </a:spcAft>
              <a:buSzPct val="100000"/>
              <a:buBlip>
                <a:blip r:embed="rId6"/>
              </a:buBlip>
            </a:pPr>
            <a:r>
              <a:rPr lang="en-gb" sz="1200" kern="100" spc="10">
                <a:cs typeface="Times New Roman"/>
              </a:rPr>
              <a:t>Place the emergency sign at the required distance from the accident scene.</a:t>
            </a:r>
          </a:p>
          <a:p>
            <a:pPr marL="285750" indent="-285750" rtl="0">
              <a:spcAft>
                <a:spcPts val="300"/>
              </a:spcAft>
              <a:buSzPct val="100000"/>
              <a:buBlip>
                <a:blip r:embed="rId6"/>
              </a:buBlip>
            </a:pPr>
            <a:r>
              <a:rPr lang="en-gb" sz="1200" kern="100" spc="10">
                <a:cs typeface="Times New Roman"/>
              </a:rPr>
              <a:t>Go to the scene of the accident.</a:t>
            </a:r>
          </a:p>
        </p:txBody>
      </p:sp>
      <p:sp>
        <p:nvSpPr>
          <p:cNvPr id="50" name="Rectangle 49">
            <a:extLst>
              <a:ext uri="{FF2B5EF4-FFF2-40B4-BE49-F238E27FC236}">
                <a16:creationId xmlns:a16="http://schemas.microsoft.com/office/drawing/2014/main" id="{1E384B44-88CC-8F76-E9AF-DBDBDD24EECE}"/>
              </a:ext>
            </a:extLst>
          </p:cNvPr>
          <p:cNvSpPr/>
          <p:nvPr/>
        </p:nvSpPr>
        <p:spPr>
          <a:xfrm>
            <a:off x="442913" y="3283647"/>
            <a:ext cx="5606063"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If the victim needs help:</a:t>
            </a:r>
          </a:p>
        </p:txBody>
      </p:sp>
      <p:sp>
        <p:nvSpPr>
          <p:cNvPr id="61" name="Rectangle 60">
            <a:extLst>
              <a:ext uri="{FF2B5EF4-FFF2-40B4-BE49-F238E27FC236}">
                <a16:creationId xmlns:a16="http://schemas.microsoft.com/office/drawing/2014/main" id="{36EC9590-1EE1-4A70-E132-4F25FB2A166A}"/>
              </a:ext>
            </a:extLst>
          </p:cNvPr>
          <p:cNvSpPr/>
          <p:nvPr/>
        </p:nvSpPr>
        <p:spPr>
          <a:xfrm>
            <a:off x="5472975" y="3283647"/>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2" name="Rectangle 61">
            <a:extLst>
              <a:ext uri="{FF2B5EF4-FFF2-40B4-BE49-F238E27FC236}">
                <a16:creationId xmlns:a16="http://schemas.microsoft.com/office/drawing/2014/main" id="{2807FCC7-6EAD-0C0D-B605-03EEAC731F8C}"/>
              </a:ext>
            </a:extLst>
          </p:cNvPr>
          <p:cNvSpPr/>
          <p:nvPr/>
        </p:nvSpPr>
        <p:spPr>
          <a:xfrm>
            <a:off x="5401531" y="3283647"/>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Road traffic accident</a:t>
            </a:r>
            <a:br>
              <a:rPr lang="lv-LV"/>
            </a:br>
            <a:r>
              <a:rPr lang="en-gb">
                <a:solidFill>
                  <a:srgbClr val="A8192D"/>
                </a:solidFill>
              </a:rPr>
              <a:t>How to proceed?</a:t>
            </a:r>
            <a:endParaRPr lang="en-GB"/>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0</a:t>
            </a:fld>
            <a:endParaRPr lang="en-GB"/>
          </a:p>
        </p:txBody>
      </p:sp>
      <p:sp>
        <p:nvSpPr>
          <p:cNvPr id="36" name="Rectangle 35">
            <a:extLst>
              <a:ext uri="{FF2B5EF4-FFF2-40B4-BE49-F238E27FC236}">
                <a16:creationId xmlns:a16="http://schemas.microsoft.com/office/drawing/2014/main" id="{3C145E88-345E-DEB9-9ABA-4CC30EEE55EB}"/>
              </a:ext>
            </a:extLst>
          </p:cNvPr>
          <p:cNvSpPr/>
          <p:nvPr/>
        </p:nvSpPr>
        <p:spPr>
          <a:xfrm>
            <a:off x="1100138" y="3961847"/>
            <a:ext cx="4948837"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Call an ambulance on 113.</a:t>
            </a:r>
          </a:p>
        </p:txBody>
      </p:sp>
      <p:sp>
        <p:nvSpPr>
          <p:cNvPr id="14" name="Rectangle 13">
            <a:extLst>
              <a:ext uri="{FF2B5EF4-FFF2-40B4-BE49-F238E27FC236}">
                <a16:creationId xmlns:a16="http://schemas.microsoft.com/office/drawing/2014/main" id="{4B888F26-7D1A-CA27-B5A8-6248A7263371}"/>
              </a:ext>
            </a:extLst>
          </p:cNvPr>
          <p:cNvSpPr/>
          <p:nvPr/>
        </p:nvSpPr>
        <p:spPr>
          <a:xfrm>
            <a:off x="1100138" y="4882130"/>
            <a:ext cx="4804506"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dirty="0">
                <a:solidFill>
                  <a:schemeClr val="tx1"/>
                </a:solidFill>
              </a:rPr>
              <a:t>Do not move the victim yourself! Do not let others move the victim!</a:t>
            </a:r>
            <a:endParaRPr lang="lv-LV" sz="1200" b="0" i="0" dirty="0">
              <a:solidFill>
                <a:schemeClr val="tx1"/>
              </a:solidFill>
              <a:effectLst/>
            </a:endParaRPr>
          </a:p>
        </p:txBody>
      </p:sp>
      <p:cxnSp>
        <p:nvCxnSpPr>
          <p:cNvPr id="17" name="Straight Connector 16">
            <a:extLst>
              <a:ext uri="{FF2B5EF4-FFF2-40B4-BE49-F238E27FC236}">
                <a16:creationId xmlns:a16="http://schemas.microsoft.com/office/drawing/2014/main" id="{3613A840-4E6D-FAE5-4D8C-5E63294A7644}"/>
              </a:ext>
            </a:extLst>
          </p:cNvPr>
          <p:cNvCxnSpPr>
            <a:cxnSpLocks/>
          </p:cNvCxnSpPr>
          <p:nvPr/>
        </p:nvCxnSpPr>
        <p:spPr>
          <a:xfrm>
            <a:off x="1100138" y="5752085"/>
            <a:ext cx="494823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8" name="Rectangle 17">
            <a:extLst>
              <a:ext uri="{FF2B5EF4-FFF2-40B4-BE49-F238E27FC236}">
                <a16:creationId xmlns:a16="http://schemas.microsoft.com/office/drawing/2014/main" id="{257A3C35-39C9-A4E6-1837-31F170B2C97A}"/>
              </a:ext>
            </a:extLst>
          </p:cNvPr>
          <p:cNvSpPr/>
          <p:nvPr/>
        </p:nvSpPr>
        <p:spPr>
          <a:xfrm>
            <a:off x="1100138" y="4426336"/>
            <a:ext cx="4513261"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Leave the victim in the car.</a:t>
            </a:r>
            <a:endParaRPr lang="lv-LV" sz="1200" b="0" i="0">
              <a:solidFill>
                <a:schemeClr val="tx1"/>
              </a:solidFill>
              <a:effectLst/>
            </a:endParaRPr>
          </a:p>
        </p:txBody>
      </p:sp>
      <p:cxnSp>
        <p:nvCxnSpPr>
          <p:cNvPr id="21" name="Straight Connector 20">
            <a:extLst>
              <a:ext uri="{FF2B5EF4-FFF2-40B4-BE49-F238E27FC236}">
                <a16:creationId xmlns:a16="http://schemas.microsoft.com/office/drawing/2014/main" id="{F3097C31-51F2-D5F8-7426-0A669C9D933B}"/>
              </a:ext>
            </a:extLst>
          </p:cNvPr>
          <p:cNvCxnSpPr>
            <a:cxnSpLocks/>
          </p:cNvCxnSpPr>
          <p:nvPr/>
        </p:nvCxnSpPr>
        <p:spPr>
          <a:xfrm flipV="1">
            <a:off x="1100137" y="4376008"/>
            <a:ext cx="4948838" cy="12549"/>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2" name="Rectangle 21">
            <a:extLst>
              <a:ext uri="{FF2B5EF4-FFF2-40B4-BE49-F238E27FC236}">
                <a16:creationId xmlns:a16="http://schemas.microsoft.com/office/drawing/2014/main" id="{BDC99A0B-8AB3-4918-5B31-2F9C4926A28C}"/>
              </a:ext>
            </a:extLst>
          </p:cNvPr>
          <p:cNvSpPr/>
          <p:nvPr/>
        </p:nvSpPr>
        <p:spPr>
          <a:xfrm>
            <a:off x="1100138" y="5337924"/>
            <a:ext cx="4513261"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Give the help you need.</a:t>
            </a:r>
            <a:endParaRPr lang="lv-LV" sz="1200" b="1" i="0">
              <a:solidFill>
                <a:schemeClr val="tx1"/>
              </a:solidFill>
              <a:effectLst/>
            </a:endParaRPr>
          </a:p>
        </p:txBody>
      </p:sp>
      <p:cxnSp>
        <p:nvCxnSpPr>
          <p:cNvPr id="31" name="Straight Connector 30">
            <a:extLst>
              <a:ext uri="{FF2B5EF4-FFF2-40B4-BE49-F238E27FC236}">
                <a16:creationId xmlns:a16="http://schemas.microsoft.com/office/drawing/2014/main" id="{A23283C8-AC46-8F65-599C-AE50F7F5ECCA}"/>
              </a:ext>
            </a:extLst>
          </p:cNvPr>
          <p:cNvCxnSpPr>
            <a:cxnSpLocks/>
          </p:cNvCxnSpPr>
          <p:nvPr/>
        </p:nvCxnSpPr>
        <p:spPr>
          <a:xfrm>
            <a:off x="1100138" y="5296291"/>
            <a:ext cx="49482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42FDFF0-C1EF-2DFC-03F4-C85494893547}"/>
              </a:ext>
            </a:extLst>
          </p:cNvPr>
          <p:cNvSpPr/>
          <p:nvPr/>
        </p:nvSpPr>
        <p:spPr>
          <a:xfrm>
            <a:off x="1100137" y="5795818"/>
            <a:ext cx="4513261"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Care for, reassure the victim.</a:t>
            </a:r>
            <a:endParaRPr lang="lv-LV" sz="1200" b="0" i="0">
              <a:solidFill>
                <a:schemeClr val="tx1"/>
              </a:solidFill>
              <a:effectLst/>
            </a:endParaRPr>
          </a:p>
        </p:txBody>
      </p:sp>
      <p:cxnSp>
        <p:nvCxnSpPr>
          <p:cNvPr id="4" name="Straight Connector 3">
            <a:extLst>
              <a:ext uri="{FF2B5EF4-FFF2-40B4-BE49-F238E27FC236}">
                <a16:creationId xmlns:a16="http://schemas.microsoft.com/office/drawing/2014/main" id="{A34C0450-1485-CB4E-D4F8-1B9D567AB1FF}"/>
              </a:ext>
            </a:extLst>
          </p:cNvPr>
          <p:cNvCxnSpPr>
            <a:cxnSpLocks/>
          </p:cNvCxnSpPr>
          <p:nvPr/>
        </p:nvCxnSpPr>
        <p:spPr>
          <a:xfrm>
            <a:off x="1100138" y="4840497"/>
            <a:ext cx="49482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59" name="Group 58">
            <a:extLst>
              <a:ext uri="{FF2B5EF4-FFF2-40B4-BE49-F238E27FC236}">
                <a16:creationId xmlns:a16="http://schemas.microsoft.com/office/drawing/2014/main" id="{A2D8173F-DACF-868F-6FB5-E46D199D1108}"/>
              </a:ext>
            </a:extLst>
          </p:cNvPr>
          <p:cNvGrpSpPr/>
          <p:nvPr/>
        </p:nvGrpSpPr>
        <p:grpSpPr>
          <a:xfrm>
            <a:off x="442913" y="3942229"/>
            <a:ext cx="576263" cy="396000"/>
            <a:chOff x="442913" y="3617840"/>
            <a:chExt cx="576263" cy="396000"/>
          </a:xfrm>
        </p:grpSpPr>
        <p:sp>
          <p:nvSpPr>
            <p:cNvPr id="26" name="Rectangle 25">
              <a:extLst>
                <a:ext uri="{FF2B5EF4-FFF2-40B4-BE49-F238E27FC236}">
                  <a16:creationId xmlns:a16="http://schemas.microsoft.com/office/drawing/2014/main" id="{F0CB5772-83FD-A70A-A885-67FCEEE49754}"/>
                </a:ext>
              </a:extLst>
            </p:cNvPr>
            <p:cNvSpPr/>
            <p:nvPr/>
          </p:nvSpPr>
          <p:spPr>
            <a:xfrm>
              <a:off x="442913" y="361784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9" name="L-Shape 8">
              <a:extLst>
                <a:ext uri="{FF2B5EF4-FFF2-40B4-BE49-F238E27FC236}">
                  <a16:creationId xmlns:a16="http://schemas.microsoft.com/office/drawing/2014/main" id="{9EBB1D1E-6449-913E-E858-C48CC79A35B7}"/>
                </a:ext>
              </a:extLst>
            </p:cNvPr>
            <p:cNvSpPr/>
            <p:nvPr/>
          </p:nvSpPr>
          <p:spPr>
            <a:xfrm rot="13500000">
              <a:off x="559307" y="36794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grpSp>
        <p:nvGrpSpPr>
          <p:cNvPr id="63" name="Group 62">
            <a:extLst>
              <a:ext uri="{FF2B5EF4-FFF2-40B4-BE49-F238E27FC236}">
                <a16:creationId xmlns:a16="http://schemas.microsoft.com/office/drawing/2014/main" id="{97936D15-04C6-0FF4-62D8-3693BC9B12D5}"/>
              </a:ext>
            </a:extLst>
          </p:cNvPr>
          <p:cNvGrpSpPr/>
          <p:nvPr/>
        </p:nvGrpSpPr>
        <p:grpSpPr>
          <a:xfrm>
            <a:off x="442913" y="4859215"/>
            <a:ext cx="576263" cy="396000"/>
            <a:chOff x="442913" y="4697020"/>
            <a:chExt cx="576263" cy="396000"/>
          </a:xfrm>
        </p:grpSpPr>
        <p:sp>
          <p:nvSpPr>
            <p:cNvPr id="51" name="Rectangle 50">
              <a:extLst>
                <a:ext uri="{FF2B5EF4-FFF2-40B4-BE49-F238E27FC236}">
                  <a16:creationId xmlns:a16="http://schemas.microsoft.com/office/drawing/2014/main" id="{459753F3-41F3-63B5-45E4-F3B58708C5B6}"/>
                </a:ext>
              </a:extLst>
            </p:cNvPr>
            <p:cNvSpPr/>
            <p:nvPr/>
          </p:nvSpPr>
          <p:spPr>
            <a:xfrm>
              <a:off x="442913" y="469702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11" name="L-Shape 10">
              <a:extLst>
                <a:ext uri="{FF2B5EF4-FFF2-40B4-BE49-F238E27FC236}">
                  <a16:creationId xmlns:a16="http://schemas.microsoft.com/office/drawing/2014/main" id="{2699A53A-B3BD-81F5-62B1-E1AFB84CBAF9}"/>
                </a:ext>
              </a:extLst>
            </p:cNvPr>
            <p:cNvSpPr/>
            <p:nvPr/>
          </p:nvSpPr>
          <p:spPr>
            <a:xfrm rot="13500000">
              <a:off x="559307" y="47586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grpSp>
        <p:nvGrpSpPr>
          <p:cNvPr id="65" name="Group 64">
            <a:extLst>
              <a:ext uri="{FF2B5EF4-FFF2-40B4-BE49-F238E27FC236}">
                <a16:creationId xmlns:a16="http://schemas.microsoft.com/office/drawing/2014/main" id="{3BF264F6-D537-4009-FDCC-211EB9D18E3D}"/>
              </a:ext>
            </a:extLst>
          </p:cNvPr>
          <p:cNvGrpSpPr/>
          <p:nvPr/>
        </p:nvGrpSpPr>
        <p:grpSpPr>
          <a:xfrm>
            <a:off x="442913" y="5776200"/>
            <a:ext cx="576263" cy="396000"/>
            <a:chOff x="442913" y="5776200"/>
            <a:chExt cx="576263" cy="396000"/>
          </a:xfrm>
        </p:grpSpPr>
        <p:sp>
          <p:nvSpPr>
            <p:cNvPr id="15" name="Rectangle 14">
              <a:extLst>
                <a:ext uri="{FF2B5EF4-FFF2-40B4-BE49-F238E27FC236}">
                  <a16:creationId xmlns:a16="http://schemas.microsoft.com/office/drawing/2014/main" id="{9E0E0D22-42F4-802B-FD44-EDC127F0142C}"/>
                </a:ext>
              </a:extLst>
            </p:cNvPr>
            <p:cNvSpPr/>
            <p:nvPr/>
          </p:nvSpPr>
          <p:spPr>
            <a:xfrm>
              <a:off x="442913" y="577620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12" name="L-Shape 11">
              <a:extLst>
                <a:ext uri="{FF2B5EF4-FFF2-40B4-BE49-F238E27FC236}">
                  <a16:creationId xmlns:a16="http://schemas.microsoft.com/office/drawing/2014/main" id="{EEEC8714-4554-535F-5536-4371C6F9A1BA}"/>
                </a:ext>
              </a:extLst>
            </p:cNvPr>
            <p:cNvSpPr/>
            <p:nvPr/>
          </p:nvSpPr>
          <p:spPr>
            <a:xfrm rot="13500000">
              <a:off x="559307" y="5837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grpSp>
        <p:nvGrpSpPr>
          <p:cNvPr id="60" name="Group 59">
            <a:extLst>
              <a:ext uri="{FF2B5EF4-FFF2-40B4-BE49-F238E27FC236}">
                <a16:creationId xmlns:a16="http://schemas.microsoft.com/office/drawing/2014/main" id="{DB2F02E6-88C6-80B0-1B6A-C8B7D79ABA4B}"/>
              </a:ext>
            </a:extLst>
          </p:cNvPr>
          <p:cNvGrpSpPr/>
          <p:nvPr/>
        </p:nvGrpSpPr>
        <p:grpSpPr>
          <a:xfrm>
            <a:off x="442913" y="4400722"/>
            <a:ext cx="576263" cy="396000"/>
            <a:chOff x="442913" y="4157430"/>
            <a:chExt cx="576263" cy="396000"/>
          </a:xfrm>
        </p:grpSpPr>
        <p:sp>
          <p:nvSpPr>
            <p:cNvPr id="47" name="Rectangle 46">
              <a:extLst>
                <a:ext uri="{FF2B5EF4-FFF2-40B4-BE49-F238E27FC236}">
                  <a16:creationId xmlns:a16="http://schemas.microsoft.com/office/drawing/2014/main" id="{DE28A1F8-05E1-2D2E-5F4B-FFE030D33C0D}"/>
                </a:ext>
              </a:extLst>
            </p:cNvPr>
            <p:cNvSpPr/>
            <p:nvPr/>
          </p:nvSpPr>
          <p:spPr>
            <a:xfrm>
              <a:off x="442913" y="415743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13" name="L-Shape 12">
              <a:extLst>
                <a:ext uri="{FF2B5EF4-FFF2-40B4-BE49-F238E27FC236}">
                  <a16:creationId xmlns:a16="http://schemas.microsoft.com/office/drawing/2014/main" id="{3F193BB6-564F-7ED4-20BE-73BF54343CE7}"/>
                </a:ext>
              </a:extLst>
            </p:cNvPr>
            <p:cNvSpPr/>
            <p:nvPr/>
          </p:nvSpPr>
          <p:spPr>
            <a:xfrm rot="13500000">
              <a:off x="559307" y="421904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grpSp>
        <p:nvGrpSpPr>
          <p:cNvPr id="64" name="Group 63">
            <a:extLst>
              <a:ext uri="{FF2B5EF4-FFF2-40B4-BE49-F238E27FC236}">
                <a16:creationId xmlns:a16="http://schemas.microsoft.com/office/drawing/2014/main" id="{FABC2044-1612-B9D1-07DF-B817B0296220}"/>
              </a:ext>
            </a:extLst>
          </p:cNvPr>
          <p:cNvGrpSpPr/>
          <p:nvPr/>
        </p:nvGrpSpPr>
        <p:grpSpPr>
          <a:xfrm>
            <a:off x="442913" y="5317708"/>
            <a:ext cx="576263" cy="396000"/>
            <a:chOff x="442913" y="5236610"/>
            <a:chExt cx="576263" cy="396000"/>
          </a:xfrm>
        </p:grpSpPr>
        <p:sp>
          <p:nvSpPr>
            <p:cNvPr id="34" name="Rectangle 33">
              <a:extLst>
                <a:ext uri="{FF2B5EF4-FFF2-40B4-BE49-F238E27FC236}">
                  <a16:creationId xmlns:a16="http://schemas.microsoft.com/office/drawing/2014/main" id="{31E65DFA-47A0-4AD8-6B27-3C86CFB7284A}"/>
                </a:ext>
              </a:extLst>
            </p:cNvPr>
            <p:cNvSpPr/>
            <p:nvPr/>
          </p:nvSpPr>
          <p:spPr>
            <a:xfrm>
              <a:off x="442913" y="5236610"/>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16" name="L-Shape 15">
              <a:extLst>
                <a:ext uri="{FF2B5EF4-FFF2-40B4-BE49-F238E27FC236}">
                  <a16:creationId xmlns:a16="http://schemas.microsoft.com/office/drawing/2014/main" id="{DE200739-7B25-E26F-EE8E-B08BBC35C608}"/>
                </a:ext>
              </a:extLst>
            </p:cNvPr>
            <p:cNvSpPr/>
            <p:nvPr/>
          </p:nvSpPr>
          <p:spPr>
            <a:xfrm rot="13500000">
              <a:off x="559307" y="529822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sp>
        <p:nvSpPr>
          <p:cNvPr id="3" name="Rectangle 2">
            <a:extLst>
              <a:ext uri="{FF2B5EF4-FFF2-40B4-BE49-F238E27FC236}">
                <a16:creationId xmlns:a16="http://schemas.microsoft.com/office/drawing/2014/main" id="{A268024A-DC0D-DE3B-37CC-AEE3234C3F83}"/>
              </a:ext>
            </a:extLst>
          </p:cNvPr>
          <p:cNvSpPr/>
          <p:nvPr/>
        </p:nvSpPr>
        <p:spPr>
          <a:xfrm>
            <a:off x="442913" y="1823905"/>
            <a:ext cx="1129369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If you see a car accident:</a:t>
            </a:r>
          </a:p>
        </p:txBody>
      </p:sp>
      <p:sp>
        <p:nvSpPr>
          <p:cNvPr id="6" name="Rectangle 5">
            <a:extLst>
              <a:ext uri="{FF2B5EF4-FFF2-40B4-BE49-F238E27FC236}">
                <a16:creationId xmlns:a16="http://schemas.microsoft.com/office/drawing/2014/main" id="{983AD267-03AD-79C8-8999-E6021621B667}"/>
              </a:ext>
            </a:extLst>
          </p:cNvPr>
          <p:cNvSpPr/>
          <p:nvPr/>
        </p:nvSpPr>
        <p:spPr>
          <a:xfrm>
            <a:off x="11177106" y="182390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0" name="Rectangle 9">
            <a:extLst>
              <a:ext uri="{FF2B5EF4-FFF2-40B4-BE49-F238E27FC236}">
                <a16:creationId xmlns:a16="http://schemas.microsoft.com/office/drawing/2014/main" id="{C76A913E-7289-9E3A-C51B-8CBD1F74224F}"/>
              </a:ext>
            </a:extLst>
          </p:cNvPr>
          <p:cNvSpPr/>
          <p:nvPr/>
        </p:nvSpPr>
        <p:spPr>
          <a:xfrm>
            <a:off x="11114685" y="182390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0" name="Rectangle 29">
            <a:extLst>
              <a:ext uri="{FF2B5EF4-FFF2-40B4-BE49-F238E27FC236}">
                <a16:creationId xmlns:a16="http://schemas.microsoft.com/office/drawing/2014/main" id="{F76E7EB6-5E25-F7C4-DC4E-5A992D666613}"/>
              </a:ext>
            </a:extLst>
          </p:cNvPr>
          <p:cNvSpPr/>
          <p:nvPr/>
        </p:nvSpPr>
        <p:spPr>
          <a:xfrm>
            <a:off x="6143023" y="3283647"/>
            <a:ext cx="5606066"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solidFill>
                  <a:schemeClr val="tx1"/>
                </a:solidFill>
              </a:rPr>
              <a:t>If the victim's life is in danger or unconscious</a:t>
            </a:r>
            <a:endParaRPr lang="fi-FI" sz="1600" b="1">
              <a:solidFill>
                <a:schemeClr val="tx1"/>
              </a:solidFill>
            </a:endParaRPr>
          </a:p>
        </p:txBody>
      </p:sp>
      <p:sp>
        <p:nvSpPr>
          <p:cNvPr id="33" name="Rectangle 32">
            <a:extLst>
              <a:ext uri="{FF2B5EF4-FFF2-40B4-BE49-F238E27FC236}">
                <a16:creationId xmlns:a16="http://schemas.microsoft.com/office/drawing/2014/main" id="{96371C03-F941-AC9F-7866-8EE9C582681C}"/>
              </a:ext>
            </a:extLst>
          </p:cNvPr>
          <p:cNvSpPr/>
          <p:nvPr/>
        </p:nvSpPr>
        <p:spPr>
          <a:xfrm>
            <a:off x="11173090" y="3283647"/>
            <a:ext cx="576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35" name="Rectangle 34">
            <a:extLst>
              <a:ext uri="{FF2B5EF4-FFF2-40B4-BE49-F238E27FC236}">
                <a16:creationId xmlns:a16="http://schemas.microsoft.com/office/drawing/2014/main" id="{A97BA22F-A403-7338-7FAA-6DB32194B5DD}"/>
              </a:ext>
            </a:extLst>
          </p:cNvPr>
          <p:cNvSpPr/>
          <p:nvPr/>
        </p:nvSpPr>
        <p:spPr>
          <a:xfrm>
            <a:off x="11102202" y="3283647"/>
            <a:ext cx="72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39" name="Straight Connector 38">
            <a:extLst>
              <a:ext uri="{FF2B5EF4-FFF2-40B4-BE49-F238E27FC236}">
                <a16:creationId xmlns:a16="http://schemas.microsoft.com/office/drawing/2014/main" id="{AB55B558-820C-E4B1-787D-B6F9981EC0AF}"/>
              </a:ext>
            </a:extLst>
          </p:cNvPr>
          <p:cNvCxnSpPr>
            <a:cxnSpLocks/>
          </p:cNvCxnSpPr>
          <p:nvPr/>
        </p:nvCxnSpPr>
        <p:spPr>
          <a:xfrm>
            <a:off x="6787934" y="4386969"/>
            <a:ext cx="494823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54" name="Group 53">
            <a:extLst>
              <a:ext uri="{FF2B5EF4-FFF2-40B4-BE49-F238E27FC236}">
                <a16:creationId xmlns:a16="http://schemas.microsoft.com/office/drawing/2014/main" id="{FB9EC3E5-FBE0-7A0D-B1C1-E4BE7C6837E7}"/>
              </a:ext>
            </a:extLst>
          </p:cNvPr>
          <p:cNvGrpSpPr/>
          <p:nvPr/>
        </p:nvGrpSpPr>
        <p:grpSpPr>
          <a:xfrm>
            <a:off x="6143023" y="4400722"/>
            <a:ext cx="576263" cy="396000"/>
            <a:chOff x="6578601" y="4292793"/>
            <a:chExt cx="576263" cy="396000"/>
          </a:xfrm>
        </p:grpSpPr>
        <p:sp>
          <p:nvSpPr>
            <p:cNvPr id="38" name="Rectangle 37">
              <a:extLst>
                <a:ext uri="{FF2B5EF4-FFF2-40B4-BE49-F238E27FC236}">
                  <a16:creationId xmlns:a16="http://schemas.microsoft.com/office/drawing/2014/main" id="{A54E2335-3C13-D6A9-AF3C-07D70F956A41}"/>
                </a:ext>
              </a:extLst>
            </p:cNvPr>
            <p:cNvSpPr/>
            <p:nvPr/>
          </p:nvSpPr>
          <p:spPr>
            <a:xfrm>
              <a:off x="6578601" y="4292793"/>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42" name="L-Shape 41">
              <a:extLst>
                <a:ext uri="{FF2B5EF4-FFF2-40B4-BE49-F238E27FC236}">
                  <a16:creationId xmlns:a16="http://schemas.microsoft.com/office/drawing/2014/main" id="{41D3FC09-2D51-267E-59F7-27F59C696785}"/>
                </a:ext>
              </a:extLst>
            </p:cNvPr>
            <p:cNvSpPr/>
            <p:nvPr/>
          </p:nvSpPr>
          <p:spPr>
            <a:xfrm rot="13500000">
              <a:off x="6694995" y="435440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grpSp>
        <p:nvGrpSpPr>
          <p:cNvPr id="40" name="Group 39">
            <a:extLst>
              <a:ext uri="{FF2B5EF4-FFF2-40B4-BE49-F238E27FC236}">
                <a16:creationId xmlns:a16="http://schemas.microsoft.com/office/drawing/2014/main" id="{1510A38A-171E-71CE-6DD5-94B0770A1C59}"/>
              </a:ext>
            </a:extLst>
          </p:cNvPr>
          <p:cNvGrpSpPr/>
          <p:nvPr/>
        </p:nvGrpSpPr>
        <p:grpSpPr>
          <a:xfrm>
            <a:off x="6143023" y="3942229"/>
            <a:ext cx="576263" cy="396000"/>
            <a:chOff x="6578601" y="3753203"/>
            <a:chExt cx="576263" cy="396000"/>
          </a:xfrm>
        </p:grpSpPr>
        <p:sp>
          <p:nvSpPr>
            <p:cNvPr id="41" name="Rectangle 40">
              <a:extLst>
                <a:ext uri="{FF2B5EF4-FFF2-40B4-BE49-F238E27FC236}">
                  <a16:creationId xmlns:a16="http://schemas.microsoft.com/office/drawing/2014/main" id="{0949E498-EF59-407D-0010-4B98988F2502}"/>
                </a:ext>
              </a:extLst>
            </p:cNvPr>
            <p:cNvSpPr/>
            <p:nvPr/>
          </p:nvSpPr>
          <p:spPr>
            <a:xfrm>
              <a:off x="6578601" y="3753203"/>
              <a:ext cx="576263" cy="396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43" name="L-Shape 42">
              <a:extLst>
                <a:ext uri="{FF2B5EF4-FFF2-40B4-BE49-F238E27FC236}">
                  <a16:creationId xmlns:a16="http://schemas.microsoft.com/office/drawing/2014/main" id="{9275BB9C-FB65-111D-50E6-946CB29B3919}"/>
                </a:ext>
              </a:extLst>
            </p:cNvPr>
            <p:cNvSpPr/>
            <p:nvPr/>
          </p:nvSpPr>
          <p:spPr>
            <a:xfrm rot="13500000">
              <a:off x="6694995" y="381481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sp>
        <p:nvSpPr>
          <p:cNvPr id="46" name="Rectangle 45">
            <a:extLst>
              <a:ext uri="{FF2B5EF4-FFF2-40B4-BE49-F238E27FC236}">
                <a16:creationId xmlns:a16="http://schemas.microsoft.com/office/drawing/2014/main" id="{8956DEC4-FA0E-C1B5-6522-32AE1FEB0A48}"/>
              </a:ext>
            </a:extLst>
          </p:cNvPr>
          <p:cNvSpPr/>
          <p:nvPr/>
        </p:nvSpPr>
        <p:spPr>
          <a:xfrm>
            <a:off x="6813334" y="4426336"/>
            <a:ext cx="4948238" cy="376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Take resuscitation measures if necessary.</a:t>
            </a:r>
            <a:endParaRPr lang="lv-LV" sz="1200" b="0" i="0">
              <a:solidFill>
                <a:schemeClr val="tx1"/>
              </a:solidFill>
              <a:effectLst/>
            </a:endParaRPr>
          </a:p>
        </p:txBody>
      </p:sp>
      <p:sp>
        <p:nvSpPr>
          <p:cNvPr id="66" name="Google Shape;2205;p101">
            <a:extLst>
              <a:ext uri="{FF2B5EF4-FFF2-40B4-BE49-F238E27FC236}">
                <a16:creationId xmlns:a16="http://schemas.microsoft.com/office/drawing/2014/main" id="{311DC8F8-3B76-07D6-492B-B2B359CDFC1C}"/>
              </a:ext>
            </a:extLst>
          </p:cNvPr>
          <p:cNvSpPr/>
          <p:nvPr/>
        </p:nvSpPr>
        <p:spPr>
          <a:xfrm>
            <a:off x="11321437" y="1968236"/>
            <a:ext cx="287338" cy="287338"/>
          </a:xfrm>
          <a:custGeom>
            <a:avLst/>
            <a:gdLst/>
            <a:ahLst/>
            <a:cxnLst/>
            <a:rect l="l" t="t" r="r" b="b"/>
            <a:pathLst>
              <a:path w="347" h="346" extrusionOk="0">
                <a:moveTo>
                  <a:pt x="0" y="0"/>
                </a:moveTo>
                <a:cubicBezTo>
                  <a:pt x="0" y="346"/>
                  <a:pt x="0" y="346"/>
                  <a:pt x="0" y="346"/>
                </a:cubicBezTo>
                <a:cubicBezTo>
                  <a:pt x="347" y="346"/>
                  <a:pt x="347" y="346"/>
                  <a:pt x="347" y="346"/>
                </a:cubicBezTo>
                <a:cubicBezTo>
                  <a:pt x="347" y="0"/>
                  <a:pt x="347" y="0"/>
                  <a:pt x="347"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95" y="94"/>
                </a:moveTo>
                <a:cubicBezTo>
                  <a:pt x="85" y="83"/>
                  <a:pt x="85" y="83"/>
                  <a:pt x="85" y="83"/>
                </a:cubicBezTo>
                <a:cubicBezTo>
                  <a:pt x="108" y="60"/>
                  <a:pt x="140" y="47"/>
                  <a:pt x="173" y="47"/>
                </a:cubicBezTo>
                <a:cubicBezTo>
                  <a:pt x="207" y="47"/>
                  <a:pt x="238" y="60"/>
                  <a:pt x="262" y="83"/>
                </a:cubicBezTo>
                <a:cubicBezTo>
                  <a:pt x="252" y="94"/>
                  <a:pt x="252" y="94"/>
                  <a:pt x="252" y="94"/>
                </a:cubicBezTo>
                <a:cubicBezTo>
                  <a:pt x="231" y="73"/>
                  <a:pt x="203" y="61"/>
                  <a:pt x="173" y="61"/>
                </a:cubicBezTo>
                <a:cubicBezTo>
                  <a:pt x="144" y="61"/>
                  <a:pt x="116" y="73"/>
                  <a:pt x="95" y="94"/>
                </a:cubicBezTo>
                <a:close/>
                <a:moveTo>
                  <a:pt x="223" y="122"/>
                </a:moveTo>
                <a:cubicBezTo>
                  <a:pt x="196" y="95"/>
                  <a:pt x="151" y="95"/>
                  <a:pt x="124" y="122"/>
                </a:cubicBezTo>
                <a:cubicBezTo>
                  <a:pt x="113" y="112"/>
                  <a:pt x="113" y="112"/>
                  <a:pt x="113" y="112"/>
                </a:cubicBezTo>
                <a:cubicBezTo>
                  <a:pt x="146" y="78"/>
                  <a:pt x="200" y="78"/>
                  <a:pt x="234" y="112"/>
                </a:cubicBezTo>
                <a:lnTo>
                  <a:pt x="223" y="122"/>
                </a:lnTo>
                <a:close/>
                <a:moveTo>
                  <a:pt x="141" y="139"/>
                </a:moveTo>
                <a:cubicBezTo>
                  <a:pt x="159" y="121"/>
                  <a:pt x="188" y="121"/>
                  <a:pt x="206" y="139"/>
                </a:cubicBezTo>
                <a:cubicBezTo>
                  <a:pt x="196" y="150"/>
                  <a:pt x="196" y="150"/>
                  <a:pt x="196" y="150"/>
                </a:cubicBezTo>
                <a:cubicBezTo>
                  <a:pt x="183" y="138"/>
                  <a:pt x="163" y="138"/>
                  <a:pt x="151" y="150"/>
                </a:cubicBezTo>
                <a:lnTo>
                  <a:pt x="141" y="139"/>
                </a:lnTo>
                <a:close/>
                <a:moveTo>
                  <a:pt x="99" y="318"/>
                </a:moveTo>
                <a:cubicBezTo>
                  <a:pt x="114" y="318"/>
                  <a:pt x="128" y="307"/>
                  <a:pt x="131" y="292"/>
                </a:cubicBezTo>
                <a:cubicBezTo>
                  <a:pt x="185" y="292"/>
                  <a:pt x="185" y="292"/>
                  <a:pt x="185" y="292"/>
                </a:cubicBezTo>
                <a:cubicBezTo>
                  <a:pt x="188" y="307"/>
                  <a:pt x="201" y="318"/>
                  <a:pt x="217" y="318"/>
                </a:cubicBezTo>
                <a:cubicBezTo>
                  <a:pt x="233" y="318"/>
                  <a:pt x="247" y="307"/>
                  <a:pt x="250" y="292"/>
                </a:cubicBezTo>
                <a:cubicBezTo>
                  <a:pt x="309" y="292"/>
                  <a:pt x="309" y="292"/>
                  <a:pt x="309" y="292"/>
                </a:cubicBezTo>
                <a:cubicBezTo>
                  <a:pt x="309" y="247"/>
                  <a:pt x="309" y="247"/>
                  <a:pt x="309" y="247"/>
                </a:cubicBezTo>
                <a:cubicBezTo>
                  <a:pt x="239" y="225"/>
                  <a:pt x="239" y="225"/>
                  <a:pt x="239" y="225"/>
                </a:cubicBezTo>
                <a:cubicBezTo>
                  <a:pt x="214" y="185"/>
                  <a:pt x="214" y="185"/>
                  <a:pt x="214" y="185"/>
                </a:cubicBezTo>
                <a:cubicBezTo>
                  <a:pt x="69" y="185"/>
                  <a:pt x="69" y="185"/>
                  <a:pt x="69" y="185"/>
                </a:cubicBezTo>
                <a:cubicBezTo>
                  <a:pt x="38" y="228"/>
                  <a:pt x="38" y="228"/>
                  <a:pt x="38" y="228"/>
                </a:cubicBezTo>
                <a:cubicBezTo>
                  <a:pt x="38" y="292"/>
                  <a:pt x="38" y="292"/>
                  <a:pt x="38" y="292"/>
                </a:cubicBezTo>
                <a:cubicBezTo>
                  <a:pt x="66" y="292"/>
                  <a:pt x="66" y="292"/>
                  <a:pt x="66" y="292"/>
                </a:cubicBezTo>
                <a:cubicBezTo>
                  <a:pt x="69" y="307"/>
                  <a:pt x="83" y="318"/>
                  <a:pt x="99" y="318"/>
                </a:cubicBezTo>
                <a:close/>
                <a:moveTo>
                  <a:pt x="99" y="303"/>
                </a:moveTo>
                <a:cubicBezTo>
                  <a:pt x="88" y="303"/>
                  <a:pt x="80" y="295"/>
                  <a:pt x="80" y="284"/>
                </a:cubicBezTo>
                <a:cubicBezTo>
                  <a:pt x="80" y="274"/>
                  <a:pt x="88" y="266"/>
                  <a:pt x="99" y="266"/>
                </a:cubicBezTo>
                <a:cubicBezTo>
                  <a:pt x="109" y="266"/>
                  <a:pt x="117" y="274"/>
                  <a:pt x="117" y="284"/>
                </a:cubicBezTo>
                <a:cubicBezTo>
                  <a:pt x="117" y="295"/>
                  <a:pt x="109" y="303"/>
                  <a:pt x="99" y="303"/>
                </a:cubicBezTo>
                <a:close/>
                <a:moveTo>
                  <a:pt x="217" y="303"/>
                </a:moveTo>
                <a:cubicBezTo>
                  <a:pt x="207" y="303"/>
                  <a:pt x="199" y="295"/>
                  <a:pt x="199" y="284"/>
                </a:cubicBezTo>
                <a:cubicBezTo>
                  <a:pt x="199" y="274"/>
                  <a:pt x="207" y="266"/>
                  <a:pt x="217" y="266"/>
                </a:cubicBezTo>
                <a:cubicBezTo>
                  <a:pt x="228" y="266"/>
                  <a:pt x="236" y="274"/>
                  <a:pt x="236" y="284"/>
                </a:cubicBezTo>
                <a:cubicBezTo>
                  <a:pt x="236" y="295"/>
                  <a:pt x="228" y="303"/>
                  <a:pt x="217" y="303"/>
                </a:cubicBezTo>
                <a:close/>
                <a:moveTo>
                  <a:pt x="52" y="233"/>
                </a:moveTo>
                <a:cubicBezTo>
                  <a:pt x="77" y="200"/>
                  <a:pt x="77" y="200"/>
                  <a:pt x="77" y="200"/>
                </a:cubicBezTo>
                <a:cubicBezTo>
                  <a:pt x="206" y="200"/>
                  <a:pt x="206" y="200"/>
                  <a:pt x="206" y="200"/>
                </a:cubicBezTo>
                <a:cubicBezTo>
                  <a:pt x="230" y="237"/>
                  <a:pt x="230" y="237"/>
                  <a:pt x="230" y="237"/>
                </a:cubicBezTo>
                <a:cubicBezTo>
                  <a:pt x="294" y="258"/>
                  <a:pt x="294" y="258"/>
                  <a:pt x="294" y="258"/>
                </a:cubicBezTo>
                <a:cubicBezTo>
                  <a:pt x="294" y="277"/>
                  <a:pt x="294" y="277"/>
                  <a:pt x="294" y="277"/>
                </a:cubicBezTo>
                <a:cubicBezTo>
                  <a:pt x="250" y="277"/>
                  <a:pt x="250" y="277"/>
                  <a:pt x="250" y="277"/>
                </a:cubicBezTo>
                <a:cubicBezTo>
                  <a:pt x="247" y="262"/>
                  <a:pt x="233" y="251"/>
                  <a:pt x="217" y="251"/>
                </a:cubicBezTo>
                <a:cubicBezTo>
                  <a:pt x="201" y="251"/>
                  <a:pt x="188" y="262"/>
                  <a:pt x="185" y="277"/>
                </a:cubicBezTo>
                <a:cubicBezTo>
                  <a:pt x="131" y="277"/>
                  <a:pt x="131" y="277"/>
                  <a:pt x="131" y="277"/>
                </a:cubicBezTo>
                <a:cubicBezTo>
                  <a:pt x="128" y="262"/>
                  <a:pt x="114" y="251"/>
                  <a:pt x="99" y="251"/>
                </a:cubicBezTo>
                <a:cubicBezTo>
                  <a:pt x="83" y="251"/>
                  <a:pt x="69" y="262"/>
                  <a:pt x="66" y="277"/>
                </a:cubicBezTo>
                <a:cubicBezTo>
                  <a:pt x="52" y="277"/>
                  <a:pt x="52" y="277"/>
                  <a:pt x="52" y="277"/>
                </a:cubicBezTo>
                <a:lnTo>
                  <a:pt x="52" y="233"/>
                </a:lnTo>
                <a:close/>
              </a:path>
            </a:pathLst>
          </a:custGeom>
          <a:solidFill>
            <a:schemeClr val="bg1"/>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800" b="1">
              <a:solidFill>
                <a:schemeClr val="accent1"/>
              </a:solidFill>
              <a:latin typeface="Arial"/>
              <a:ea typeface="Arial"/>
              <a:cs typeface="Arial"/>
              <a:sym typeface="Arial"/>
            </a:endParaRPr>
          </a:p>
        </p:txBody>
      </p:sp>
      <p:grpSp>
        <p:nvGrpSpPr>
          <p:cNvPr id="70" name="Google Shape;1543;p92">
            <a:extLst>
              <a:ext uri="{FF2B5EF4-FFF2-40B4-BE49-F238E27FC236}">
                <a16:creationId xmlns:a16="http://schemas.microsoft.com/office/drawing/2014/main" id="{C548CE39-3DC4-D5FA-A033-B7FD0422CCCE}"/>
              </a:ext>
            </a:extLst>
          </p:cNvPr>
          <p:cNvGrpSpPr/>
          <p:nvPr/>
        </p:nvGrpSpPr>
        <p:grpSpPr>
          <a:xfrm>
            <a:off x="5617306" y="3427978"/>
            <a:ext cx="287338" cy="287338"/>
            <a:chOff x="11403518" y="3895566"/>
            <a:chExt cx="457200" cy="457200"/>
          </a:xfrm>
          <a:solidFill>
            <a:schemeClr val="bg1"/>
          </a:solidFill>
        </p:grpSpPr>
        <p:sp>
          <p:nvSpPr>
            <p:cNvPr id="71" name="Google Shape;1544;p92">
              <a:extLst>
                <a:ext uri="{FF2B5EF4-FFF2-40B4-BE49-F238E27FC236}">
                  <a16:creationId xmlns:a16="http://schemas.microsoft.com/office/drawing/2014/main" id="{7F475CC8-CB29-E6F3-46DC-2CBA94CC1D6D}"/>
                </a:ext>
              </a:extLst>
            </p:cNvPr>
            <p:cNvSpPr/>
            <p:nvPr/>
          </p:nvSpPr>
          <p:spPr>
            <a:xfrm>
              <a:off x="11403518" y="3895566"/>
              <a:ext cx="457200" cy="457200"/>
            </a:xfrm>
            <a:custGeom>
              <a:avLst/>
              <a:gdLst/>
              <a:ahLst/>
              <a:cxnLst/>
              <a:rect l="l" t="t" r="r" b="b"/>
              <a:pathLst>
                <a:path w="457200" h="457200" extrusionOk="0">
                  <a:moveTo>
                    <a:pt x="358426" y="48038"/>
                  </a:moveTo>
                  <a:lnTo>
                    <a:pt x="358426" y="0"/>
                  </a:lnTo>
                  <a:lnTo>
                    <a:pt x="98774" y="0"/>
                  </a:lnTo>
                  <a:lnTo>
                    <a:pt x="98774" y="48038"/>
                  </a:lnTo>
                  <a:lnTo>
                    <a:pt x="0" y="48038"/>
                  </a:lnTo>
                  <a:lnTo>
                    <a:pt x="0" y="457200"/>
                  </a:lnTo>
                  <a:lnTo>
                    <a:pt x="457200" y="457200"/>
                  </a:lnTo>
                  <a:lnTo>
                    <a:pt x="457200" y="48038"/>
                  </a:lnTo>
                  <a:close/>
                  <a:moveTo>
                    <a:pt x="118300" y="19463"/>
                  </a:moveTo>
                  <a:lnTo>
                    <a:pt x="338900" y="19463"/>
                  </a:lnTo>
                  <a:lnTo>
                    <a:pt x="338900" y="47625"/>
                  </a:lnTo>
                  <a:lnTo>
                    <a:pt x="118300" y="47625"/>
                  </a:lnTo>
                  <a:close/>
                  <a:moveTo>
                    <a:pt x="19526" y="225679"/>
                  </a:moveTo>
                  <a:lnTo>
                    <a:pt x="86201" y="225679"/>
                  </a:lnTo>
                  <a:cubicBezTo>
                    <a:pt x="84633" y="234301"/>
                    <a:pt x="83836" y="243046"/>
                    <a:pt x="83820" y="251809"/>
                  </a:cubicBezTo>
                  <a:cubicBezTo>
                    <a:pt x="83817" y="261123"/>
                    <a:pt x="84711" y="270416"/>
                    <a:pt x="86487" y="279559"/>
                  </a:cubicBezTo>
                  <a:lnTo>
                    <a:pt x="19526" y="279559"/>
                  </a:lnTo>
                  <a:close/>
                  <a:moveTo>
                    <a:pt x="437674" y="437674"/>
                  </a:moveTo>
                  <a:lnTo>
                    <a:pt x="19526" y="437674"/>
                  </a:lnTo>
                  <a:lnTo>
                    <a:pt x="19526" y="299085"/>
                  </a:lnTo>
                  <a:lnTo>
                    <a:pt x="92075" y="299085"/>
                  </a:lnTo>
                  <a:cubicBezTo>
                    <a:pt x="118172" y="374574"/>
                    <a:pt x="200523" y="414614"/>
                    <a:pt x="276012" y="388515"/>
                  </a:cubicBezTo>
                  <a:cubicBezTo>
                    <a:pt x="317967" y="374012"/>
                    <a:pt x="350939" y="341039"/>
                    <a:pt x="365443" y="299085"/>
                  </a:cubicBezTo>
                  <a:lnTo>
                    <a:pt x="437832" y="299085"/>
                  </a:lnTo>
                  <a:close/>
                  <a:moveTo>
                    <a:pt x="103505" y="251809"/>
                  </a:moveTo>
                  <a:cubicBezTo>
                    <a:pt x="103502" y="243026"/>
                    <a:pt x="104428" y="234267"/>
                    <a:pt x="106267" y="225679"/>
                  </a:cubicBezTo>
                  <a:cubicBezTo>
                    <a:pt x="107691" y="219018"/>
                    <a:pt x="109666" y="212487"/>
                    <a:pt x="112173" y="206153"/>
                  </a:cubicBezTo>
                  <a:cubicBezTo>
                    <a:pt x="137346" y="141852"/>
                    <a:pt x="209879" y="110133"/>
                    <a:pt x="274180" y="135306"/>
                  </a:cubicBezTo>
                  <a:cubicBezTo>
                    <a:pt x="306639" y="148013"/>
                    <a:pt x="332321" y="173694"/>
                    <a:pt x="345027" y="206153"/>
                  </a:cubicBezTo>
                  <a:cubicBezTo>
                    <a:pt x="347532" y="212487"/>
                    <a:pt x="349510" y="219018"/>
                    <a:pt x="350933" y="225679"/>
                  </a:cubicBezTo>
                  <a:cubicBezTo>
                    <a:pt x="365373" y="293241"/>
                    <a:pt x="322307" y="359715"/>
                    <a:pt x="254743" y="374155"/>
                  </a:cubicBezTo>
                  <a:cubicBezTo>
                    <a:pt x="187181" y="388595"/>
                    <a:pt x="120706" y="345529"/>
                    <a:pt x="106267" y="277965"/>
                  </a:cubicBezTo>
                  <a:cubicBezTo>
                    <a:pt x="104430" y="269368"/>
                    <a:pt x="103504" y="260601"/>
                    <a:pt x="103505" y="251809"/>
                  </a:cubicBezTo>
                  <a:close/>
                  <a:moveTo>
                    <a:pt x="437674" y="279559"/>
                  </a:moveTo>
                  <a:lnTo>
                    <a:pt x="370554" y="279559"/>
                  </a:lnTo>
                  <a:cubicBezTo>
                    <a:pt x="372332" y="270416"/>
                    <a:pt x="373224" y="261123"/>
                    <a:pt x="373221" y="251809"/>
                  </a:cubicBezTo>
                  <a:cubicBezTo>
                    <a:pt x="373205" y="243046"/>
                    <a:pt x="372408" y="234301"/>
                    <a:pt x="370840" y="225679"/>
                  </a:cubicBezTo>
                  <a:lnTo>
                    <a:pt x="437515" y="225679"/>
                  </a:lnTo>
                  <a:close/>
                  <a:moveTo>
                    <a:pt x="437674" y="206153"/>
                  </a:moveTo>
                  <a:lnTo>
                    <a:pt x="365824" y="206153"/>
                  </a:lnTo>
                  <a:cubicBezTo>
                    <a:pt x="340604" y="130366"/>
                    <a:pt x="258724" y="89373"/>
                    <a:pt x="182938" y="114591"/>
                  </a:cubicBezTo>
                  <a:cubicBezTo>
                    <a:pt x="139696" y="128980"/>
                    <a:pt x="105766" y="162911"/>
                    <a:pt x="91377" y="206153"/>
                  </a:cubicBezTo>
                  <a:lnTo>
                    <a:pt x="19526" y="206153"/>
                  </a:lnTo>
                  <a:lnTo>
                    <a:pt x="19526" y="67564"/>
                  </a:lnTo>
                  <a:lnTo>
                    <a:pt x="437674" y="67564"/>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2" name="Google Shape;1545;p92">
              <a:extLst>
                <a:ext uri="{FF2B5EF4-FFF2-40B4-BE49-F238E27FC236}">
                  <a16:creationId xmlns:a16="http://schemas.microsoft.com/office/drawing/2014/main" id="{FBBA7E35-1D32-0931-A15C-7B658CB45A39}"/>
                </a:ext>
              </a:extLst>
            </p:cNvPr>
            <p:cNvSpPr/>
            <p:nvPr/>
          </p:nvSpPr>
          <p:spPr>
            <a:xfrm>
              <a:off x="11539503" y="4054760"/>
              <a:ext cx="185229" cy="185229"/>
            </a:xfrm>
            <a:custGeom>
              <a:avLst/>
              <a:gdLst/>
              <a:ahLst/>
              <a:cxnLst/>
              <a:rect l="l" t="t" r="r" b="b"/>
              <a:pathLst>
                <a:path w="185229" h="185229" extrusionOk="0">
                  <a:moveTo>
                    <a:pt x="54959" y="185230"/>
                  </a:moveTo>
                  <a:lnTo>
                    <a:pt x="130270" y="185230"/>
                  </a:lnTo>
                  <a:lnTo>
                    <a:pt x="130270" y="130270"/>
                  </a:lnTo>
                  <a:lnTo>
                    <a:pt x="185229" y="130270"/>
                  </a:lnTo>
                  <a:lnTo>
                    <a:pt x="185229" y="54959"/>
                  </a:lnTo>
                  <a:lnTo>
                    <a:pt x="130270" y="54959"/>
                  </a:lnTo>
                  <a:lnTo>
                    <a:pt x="130270" y="0"/>
                  </a:lnTo>
                  <a:lnTo>
                    <a:pt x="54959" y="0"/>
                  </a:lnTo>
                  <a:lnTo>
                    <a:pt x="54959" y="54959"/>
                  </a:lnTo>
                  <a:lnTo>
                    <a:pt x="0" y="54959"/>
                  </a:lnTo>
                  <a:lnTo>
                    <a:pt x="0" y="130270"/>
                  </a:lnTo>
                  <a:lnTo>
                    <a:pt x="54959" y="130270"/>
                  </a:lnTo>
                  <a:close/>
                  <a:moveTo>
                    <a:pt x="19590" y="110681"/>
                  </a:moveTo>
                  <a:lnTo>
                    <a:pt x="19590" y="74486"/>
                  </a:lnTo>
                  <a:lnTo>
                    <a:pt x="74486" y="74486"/>
                  </a:lnTo>
                  <a:lnTo>
                    <a:pt x="74486" y="19526"/>
                  </a:lnTo>
                  <a:lnTo>
                    <a:pt x="110744" y="19526"/>
                  </a:lnTo>
                  <a:lnTo>
                    <a:pt x="110744" y="74486"/>
                  </a:lnTo>
                  <a:lnTo>
                    <a:pt x="165640" y="74486"/>
                  </a:lnTo>
                  <a:lnTo>
                    <a:pt x="165640" y="110681"/>
                  </a:lnTo>
                  <a:lnTo>
                    <a:pt x="110744" y="110681"/>
                  </a:lnTo>
                  <a:lnTo>
                    <a:pt x="110744" y="165640"/>
                  </a:lnTo>
                  <a:lnTo>
                    <a:pt x="74486" y="165640"/>
                  </a:lnTo>
                  <a:lnTo>
                    <a:pt x="74486" y="110681"/>
                  </a:lnTo>
                  <a:lnTo>
                    <a:pt x="19590" y="11068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grpSp>
        <p:nvGrpSpPr>
          <p:cNvPr id="73" name="Google Shape;1547;p92">
            <a:extLst>
              <a:ext uri="{FF2B5EF4-FFF2-40B4-BE49-F238E27FC236}">
                <a16:creationId xmlns:a16="http://schemas.microsoft.com/office/drawing/2014/main" id="{8889797C-5D55-F70E-ED5A-3C2A5594C1E1}"/>
              </a:ext>
            </a:extLst>
          </p:cNvPr>
          <p:cNvGrpSpPr/>
          <p:nvPr/>
        </p:nvGrpSpPr>
        <p:grpSpPr>
          <a:xfrm>
            <a:off x="11317421" y="3427978"/>
            <a:ext cx="287338" cy="287338"/>
            <a:chOff x="10418558" y="3895566"/>
            <a:chExt cx="457200" cy="457200"/>
          </a:xfrm>
          <a:solidFill>
            <a:schemeClr val="tx1"/>
          </a:solidFill>
        </p:grpSpPr>
        <p:sp>
          <p:nvSpPr>
            <p:cNvPr id="74" name="Google Shape;1548;p92">
              <a:extLst>
                <a:ext uri="{FF2B5EF4-FFF2-40B4-BE49-F238E27FC236}">
                  <a16:creationId xmlns:a16="http://schemas.microsoft.com/office/drawing/2014/main" id="{1B5C11DC-9CC4-AACF-F86E-787B98C1F008}"/>
                </a:ext>
              </a:extLst>
            </p:cNvPr>
            <p:cNvSpPr/>
            <p:nvPr/>
          </p:nvSpPr>
          <p:spPr>
            <a:xfrm>
              <a:off x="10418558" y="3895566"/>
              <a:ext cx="457200" cy="457200"/>
            </a:xfrm>
            <a:custGeom>
              <a:avLst/>
              <a:gdLst/>
              <a:ahLst/>
              <a:cxnLst/>
              <a:rect l="l" t="t" r="r" b="b"/>
              <a:pathLst>
                <a:path w="457200" h="457200" extrusionOk="0">
                  <a:moveTo>
                    <a:pt x="0" y="0"/>
                  </a:moveTo>
                  <a:lnTo>
                    <a:pt x="0" y="457200"/>
                  </a:lnTo>
                  <a:lnTo>
                    <a:pt x="457200" y="457200"/>
                  </a:lnTo>
                  <a:lnTo>
                    <a:pt x="457200" y="0"/>
                  </a:lnTo>
                  <a:close/>
                  <a:moveTo>
                    <a:pt x="437674" y="437674"/>
                  </a:moveTo>
                  <a:lnTo>
                    <a:pt x="19526" y="437674"/>
                  </a:lnTo>
                  <a:lnTo>
                    <a:pt x="19526" y="19526"/>
                  </a:lnTo>
                  <a:lnTo>
                    <a:pt x="437674" y="19526"/>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5" name="Google Shape;1549;p92">
              <a:extLst>
                <a:ext uri="{FF2B5EF4-FFF2-40B4-BE49-F238E27FC236}">
                  <a16:creationId xmlns:a16="http://schemas.microsoft.com/office/drawing/2014/main" id="{A647699A-D39F-5958-7C0B-8EE0EC904398}"/>
                </a:ext>
              </a:extLst>
            </p:cNvPr>
            <p:cNvSpPr/>
            <p:nvPr/>
          </p:nvSpPr>
          <p:spPr>
            <a:xfrm>
              <a:off x="10476374" y="3976084"/>
              <a:ext cx="342011" cy="146208"/>
            </a:xfrm>
            <a:custGeom>
              <a:avLst/>
              <a:gdLst/>
              <a:ahLst/>
              <a:cxnLst/>
              <a:rect l="l" t="t" r="r" b="b"/>
              <a:pathLst>
                <a:path w="342011" h="146208" extrusionOk="0">
                  <a:moveTo>
                    <a:pt x="45402" y="146209"/>
                  </a:moveTo>
                  <a:lnTo>
                    <a:pt x="37433" y="137509"/>
                  </a:lnTo>
                  <a:lnTo>
                    <a:pt x="37179" y="137255"/>
                  </a:lnTo>
                  <a:lnTo>
                    <a:pt x="36894" y="136970"/>
                  </a:lnTo>
                  <a:cubicBezTo>
                    <a:pt x="26257" y="126143"/>
                    <a:pt x="21019" y="110331"/>
                    <a:pt x="21019" y="89948"/>
                  </a:cubicBezTo>
                  <a:cubicBezTo>
                    <a:pt x="20923" y="50705"/>
                    <a:pt x="49784" y="21082"/>
                    <a:pt x="88233" y="21082"/>
                  </a:cubicBezTo>
                  <a:cubicBezTo>
                    <a:pt x="117570" y="21082"/>
                    <a:pt x="142780" y="37814"/>
                    <a:pt x="150940" y="62738"/>
                  </a:cubicBezTo>
                  <a:lnTo>
                    <a:pt x="154908" y="75057"/>
                  </a:lnTo>
                  <a:lnTo>
                    <a:pt x="185198" y="75057"/>
                  </a:lnTo>
                  <a:lnTo>
                    <a:pt x="189833" y="65532"/>
                  </a:lnTo>
                  <a:cubicBezTo>
                    <a:pt x="204311" y="36068"/>
                    <a:pt x="225774" y="21082"/>
                    <a:pt x="253651" y="21082"/>
                  </a:cubicBezTo>
                  <a:cubicBezTo>
                    <a:pt x="291941" y="21082"/>
                    <a:pt x="320802" y="50641"/>
                    <a:pt x="320802" y="89884"/>
                  </a:cubicBezTo>
                  <a:cubicBezTo>
                    <a:pt x="320802" y="110268"/>
                    <a:pt x="315436" y="126079"/>
                    <a:pt x="304927" y="136906"/>
                  </a:cubicBezTo>
                  <a:lnTo>
                    <a:pt x="304641" y="137192"/>
                  </a:lnTo>
                  <a:lnTo>
                    <a:pt x="304387" y="137446"/>
                  </a:lnTo>
                  <a:lnTo>
                    <a:pt x="296450" y="146145"/>
                  </a:lnTo>
                  <a:lnTo>
                    <a:pt x="324771" y="146145"/>
                  </a:lnTo>
                  <a:cubicBezTo>
                    <a:pt x="337471" y="130080"/>
                    <a:pt x="342011" y="109982"/>
                    <a:pt x="342011" y="89884"/>
                  </a:cubicBezTo>
                  <a:cubicBezTo>
                    <a:pt x="342011" y="39338"/>
                    <a:pt x="303403" y="0"/>
                    <a:pt x="253778" y="0"/>
                  </a:cubicBezTo>
                  <a:cubicBezTo>
                    <a:pt x="215170" y="0"/>
                    <a:pt x="187611" y="22479"/>
                    <a:pt x="171228" y="56166"/>
                  </a:cubicBezTo>
                  <a:cubicBezTo>
                    <a:pt x="159766" y="22542"/>
                    <a:pt x="126683" y="63"/>
                    <a:pt x="88233" y="63"/>
                  </a:cubicBezTo>
                  <a:cubicBezTo>
                    <a:pt x="38608" y="63"/>
                    <a:pt x="0" y="39402"/>
                    <a:pt x="0" y="89948"/>
                  </a:cubicBezTo>
                  <a:cubicBezTo>
                    <a:pt x="0" y="110046"/>
                    <a:pt x="4445" y="130143"/>
                    <a:pt x="17240" y="146209"/>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6" name="Google Shape;1550;p92">
              <a:extLst>
                <a:ext uri="{FF2B5EF4-FFF2-40B4-BE49-F238E27FC236}">
                  <a16:creationId xmlns:a16="http://schemas.microsoft.com/office/drawing/2014/main" id="{583A4D77-60E2-5D2C-62FE-3AF886849C26}"/>
                </a:ext>
              </a:extLst>
            </p:cNvPr>
            <p:cNvSpPr/>
            <p:nvPr/>
          </p:nvSpPr>
          <p:spPr>
            <a:xfrm>
              <a:off x="10543526" y="4177379"/>
              <a:ext cx="207200" cy="113315"/>
            </a:xfrm>
            <a:custGeom>
              <a:avLst/>
              <a:gdLst/>
              <a:ahLst/>
              <a:cxnLst/>
              <a:rect l="l" t="t" r="r" b="b"/>
              <a:pathLst>
                <a:path w="207200" h="113315" extrusionOk="0">
                  <a:moveTo>
                    <a:pt x="103632" y="82106"/>
                  </a:moveTo>
                  <a:lnTo>
                    <a:pt x="28575" y="0"/>
                  </a:lnTo>
                  <a:lnTo>
                    <a:pt x="0" y="0"/>
                  </a:lnTo>
                  <a:lnTo>
                    <a:pt x="103632" y="113316"/>
                  </a:lnTo>
                  <a:lnTo>
                    <a:pt x="207201" y="0"/>
                  </a:lnTo>
                  <a:lnTo>
                    <a:pt x="1786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7" name="Google Shape;1551;p92">
              <a:extLst>
                <a:ext uri="{FF2B5EF4-FFF2-40B4-BE49-F238E27FC236}">
                  <a16:creationId xmlns:a16="http://schemas.microsoft.com/office/drawing/2014/main" id="{0D67CF11-EE18-634E-4DA0-358DFB683DB8}"/>
                </a:ext>
              </a:extLst>
            </p:cNvPr>
            <p:cNvSpPr/>
            <p:nvPr/>
          </p:nvSpPr>
          <p:spPr>
            <a:xfrm>
              <a:off x="10476215" y="4060570"/>
              <a:ext cx="341883" cy="125317"/>
            </a:xfrm>
            <a:custGeom>
              <a:avLst/>
              <a:gdLst/>
              <a:ahLst/>
              <a:cxnLst/>
              <a:rect l="l" t="t" r="r" b="b"/>
              <a:pathLst>
                <a:path w="341883" h="125317" extrusionOk="0">
                  <a:moveTo>
                    <a:pt x="125254" y="68675"/>
                  </a:moveTo>
                  <a:lnTo>
                    <a:pt x="166180" y="125317"/>
                  </a:lnTo>
                  <a:lnTo>
                    <a:pt x="204629" y="42259"/>
                  </a:lnTo>
                  <a:lnTo>
                    <a:pt x="236855" y="97885"/>
                  </a:lnTo>
                  <a:lnTo>
                    <a:pt x="341884" y="97885"/>
                  </a:lnTo>
                  <a:lnTo>
                    <a:pt x="341884" y="78359"/>
                  </a:lnTo>
                  <a:lnTo>
                    <a:pt x="248095" y="78359"/>
                  </a:lnTo>
                  <a:lnTo>
                    <a:pt x="202692" y="0"/>
                  </a:lnTo>
                  <a:lnTo>
                    <a:pt x="162465" y="86836"/>
                  </a:lnTo>
                  <a:lnTo>
                    <a:pt x="124809" y="34734"/>
                  </a:lnTo>
                  <a:lnTo>
                    <a:pt x="94647" y="78835"/>
                  </a:lnTo>
                  <a:lnTo>
                    <a:pt x="0" y="78835"/>
                  </a:lnTo>
                  <a:lnTo>
                    <a:pt x="0" y="98361"/>
                  </a:lnTo>
                  <a:lnTo>
                    <a:pt x="104934" y="98361"/>
                  </a:lnTo>
                  <a:lnTo>
                    <a:pt x="125254" y="6867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pic>
        <p:nvPicPr>
          <p:cNvPr id="79" name="Picture 78">
            <a:extLst>
              <a:ext uri="{FF2B5EF4-FFF2-40B4-BE49-F238E27FC236}">
                <a16:creationId xmlns:a16="http://schemas.microsoft.com/office/drawing/2014/main" id="{4E157E8C-DDDD-5716-2F3E-15C5995B4322}"/>
              </a:ext>
            </a:extLst>
          </p:cNvPr>
          <p:cNvPicPr>
            <a:picLocks noChangeAspect="1"/>
          </p:cNvPicPr>
          <p:nvPr/>
        </p:nvPicPr>
        <p:blipFill rotWithShape="1">
          <a:blip r:embed="rId7"/>
          <a:srcRect t="15906" b="49863"/>
          <a:stretch/>
        </p:blipFill>
        <p:spPr>
          <a:xfrm>
            <a:off x="6142423" y="4890825"/>
            <a:ext cx="5614916" cy="1281374"/>
          </a:xfrm>
          <a:prstGeom prst="rect">
            <a:avLst/>
          </a:prstGeom>
        </p:spPr>
      </p:pic>
    </p:spTree>
    <p:extLst>
      <p:ext uri="{BB962C8B-B14F-4D97-AF65-F5344CB8AC3E}">
        <p14:creationId xmlns:p14="http://schemas.microsoft.com/office/powerpoint/2010/main" val="266540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110B235-F955-EA3B-FC0E-F99459354174}"/>
              </a:ext>
            </a:extLst>
          </p:cNvPr>
          <p:cNvSpPr/>
          <p:nvPr/>
        </p:nvSpPr>
        <p:spPr>
          <a:xfrm>
            <a:off x="450187" y="1823905"/>
            <a:ext cx="38271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solidFill>
                  <a:schemeClr val="bg1"/>
                </a:solidFill>
              </a:rPr>
              <a:t>If you are trapped in a collapse:</a:t>
            </a:r>
            <a:endParaRPr lang="fi-FI" sz="1600" b="1">
              <a:solidFill>
                <a:schemeClr val="bg1"/>
              </a:solidFil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Collapse of structures</a:t>
            </a:r>
            <a:br>
              <a:rPr lang="lv-LV"/>
            </a:br>
            <a:r>
              <a:rPr lang="en-gb">
                <a:solidFill>
                  <a:srgbClr val="A8192D"/>
                </a:solidFill>
              </a:rPr>
              <a:t>How to proceed?</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1</a:t>
            </a:fld>
            <a:endParaRPr lang="en-GB"/>
          </a:p>
        </p:txBody>
      </p:sp>
      <p:sp>
        <p:nvSpPr>
          <p:cNvPr id="47" name="Rectangle 46">
            <a:extLst>
              <a:ext uri="{FF2B5EF4-FFF2-40B4-BE49-F238E27FC236}">
                <a16:creationId xmlns:a16="http://schemas.microsoft.com/office/drawing/2014/main" id="{D697A073-4B67-4447-043A-F93B67624135}"/>
              </a:ext>
            </a:extLst>
          </p:cNvPr>
          <p:cNvSpPr/>
          <p:nvPr/>
        </p:nvSpPr>
        <p:spPr>
          <a:xfrm>
            <a:off x="1098188" y="2541546"/>
            <a:ext cx="3722409" cy="43217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If you have a mobile phone, call </a:t>
            </a:r>
            <a:r>
              <a:rPr lang="en-gb" sz="1400" b="1" i="0">
                <a:solidFill>
                  <a:srgbClr val="A8192D"/>
                </a:solidFill>
                <a:effectLst/>
              </a:rPr>
              <a:t>112</a:t>
            </a:r>
            <a:r>
              <a:rPr lang="en-gb" sz="1400" b="0" i="0">
                <a:solidFill>
                  <a:srgbClr val="212529"/>
                </a:solidFill>
                <a:effectLst/>
              </a:rPr>
              <a:t>.</a:t>
            </a:r>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1098550" y="3016871"/>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4" name="Rectangle 53">
            <a:extLst>
              <a:ext uri="{FF2B5EF4-FFF2-40B4-BE49-F238E27FC236}">
                <a16:creationId xmlns:a16="http://schemas.microsoft.com/office/drawing/2014/main" id="{A1F71667-D7CD-73A1-7C5D-B210E14862AD}"/>
              </a:ext>
            </a:extLst>
          </p:cNvPr>
          <p:cNvSpPr/>
          <p:nvPr/>
        </p:nvSpPr>
        <p:spPr>
          <a:xfrm>
            <a:off x="1098188" y="3061610"/>
            <a:ext cx="3722409" cy="43234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spc="-20">
                <a:solidFill>
                  <a:srgbClr val="212529"/>
                </a:solidFill>
                <a:effectLst/>
              </a:rPr>
              <a:t>Cover your mouth with a cloth or clothing when you breathe.</a:t>
            </a:r>
          </a:p>
        </p:txBody>
      </p:sp>
      <p:grpSp>
        <p:nvGrpSpPr>
          <p:cNvPr id="3" name="Group 2">
            <a:extLst>
              <a:ext uri="{FF2B5EF4-FFF2-40B4-BE49-F238E27FC236}">
                <a16:creationId xmlns:a16="http://schemas.microsoft.com/office/drawing/2014/main" id="{93AEDA63-7169-370C-BEFF-F35DAB130A33}"/>
              </a:ext>
            </a:extLst>
          </p:cNvPr>
          <p:cNvGrpSpPr/>
          <p:nvPr/>
        </p:nvGrpSpPr>
        <p:grpSpPr>
          <a:xfrm>
            <a:off x="4172567" y="1823905"/>
            <a:ext cx="646888" cy="576000"/>
            <a:chOff x="4172567" y="1815438"/>
            <a:chExt cx="646888" cy="576000"/>
          </a:xfrm>
        </p:grpSpPr>
        <p:sp>
          <p:nvSpPr>
            <p:cNvPr id="51" name="Rectangle 50">
              <a:extLst>
                <a:ext uri="{FF2B5EF4-FFF2-40B4-BE49-F238E27FC236}">
                  <a16:creationId xmlns:a16="http://schemas.microsoft.com/office/drawing/2014/main" id="{1D9B6445-7F02-AD29-9C1C-BE7ED24A094D}"/>
                </a:ext>
              </a:extLst>
            </p:cNvPr>
            <p:cNvSpPr/>
            <p:nvPr/>
          </p:nvSpPr>
          <p:spPr>
            <a:xfrm>
              <a:off x="4243455" y="1815438"/>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4172567" y="1815438"/>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57" name="Straight Connector 56">
            <a:extLst>
              <a:ext uri="{FF2B5EF4-FFF2-40B4-BE49-F238E27FC236}">
                <a16:creationId xmlns:a16="http://schemas.microsoft.com/office/drawing/2014/main" id="{F353F342-B0A2-23BA-E106-17B05A219B85}"/>
              </a:ext>
            </a:extLst>
          </p:cNvPr>
          <p:cNvCxnSpPr>
            <a:cxnSpLocks/>
          </p:cNvCxnSpPr>
          <p:nvPr/>
        </p:nvCxnSpPr>
        <p:spPr>
          <a:xfrm>
            <a:off x="1105462" y="3537109"/>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8" name="Rectangle 57">
            <a:extLst>
              <a:ext uri="{FF2B5EF4-FFF2-40B4-BE49-F238E27FC236}">
                <a16:creationId xmlns:a16="http://schemas.microsoft.com/office/drawing/2014/main" id="{A80DDA7E-D756-55C4-C152-BB4BA35E1815}"/>
              </a:ext>
            </a:extLst>
          </p:cNvPr>
          <p:cNvSpPr/>
          <p:nvPr/>
        </p:nvSpPr>
        <p:spPr>
          <a:xfrm>
            <a:off x="1105462" y="3581848"/>
            <a:ext cx="3715135" cy="60344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spc="-20">
                <a:solidFill>
                  <a:srgbClr val="212529"/>
                </a:solidFill>
                <a:effectLst/>
              </a:rPr>
              <a:t>Use any means to attract the attention of rescuers, such as knocking on building structures, pipes, radiators.</a:t>
            </a:r>
          </a:p>
        </p:txBody>
      </p:sp>
      <p:sp>
        <p:nvSpPr>
          <p:cNvPr id="62" name="Rectangle 61">
            <a:extLst>
              <a:ext uri="{FF2B5EF4-FFF2-40B4-BE49-F238E27FC236}">
                <a16:creationId xmlns:a16="http://schemas.microsoft.com/office/drawing/2014/main" id="{D20A67E3-8EDE-F16B-34AB-1C391339A6D1}"/>
              </a:ext>
            </a:extLst>
          </p:cNvPr>
          <p:cNvSpPr/>
          <p:nvPr/>
        </p:nvSpPr>
        <p:spPr>
          <a:xfrm>
            <a:off x="5178413" y="2497797"/>
            <a:ext cx="6571868" cy="40269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72000" rIns="72000" bIns="72000" rtlCol="0" anchor="ctr">
            <a:noAutofit/>
          </a:bodyPr>
          <a:lstStyle/>
          <a:p>
            <a:pPr algn="l" rtl="0"/>
            <a:r>
              <a:rPr lang="en-gb" sz="1400" b="1" i="0">
                <a:solidFill>
                  <a:srgbClr val="A8192D"/>
                </a:solidFill>
                <a:effectLst/>
              </a:rPr>
              <a:t>Situations vary, as do building designs, so take the following advice into account when assessing the risks:</a:t>
            </a:r>
          </a:p>
        </p:txBody>
      </p:sp>
      <p:sp>
        <p:nvSpPr>
          <p:cNvPr id="66" name="Rectangle 65">
            <a:extLst>
              <a:ext uri="{FF2B5EF4-FFF2-40B4-BE49-F238E27FC236}">
                <a16:creationId xmlns:a16="http://schemas.microsoft.com/office/drawing/2014/main" id="{08F122A0-E324-3907-7228-5AE5E3C4843F}"/>
              </a:ext>
            </a:extLst>
          </p:cNvPr>
          <p:cNvSpPr/>
          <p:nvPr/>
        </p:nvSpPr>
        <p:spPr>
          <a:xfrm>
            <a:off x="1113015" y="5058712"/>
            <a:ext cx="3715135" cy="4826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Leave the building immediately.</a:t>
            </a:r>
          </a:p>
        </p:txBody>
      </p:sp>
      <p:sp>
        <p:nvSpPr>
          <p:cNvPr id="72" name="Rectangle 71">
            <a:extLst>
              <a:ext uri="{FF2B5EF4-FFF2-40B4-BE49-F238E27FC236}">
                <a16:creationId xmlns:a16="http://schemas.microsoft.com/office/drawing/2014/main" id="{928C2E0E-417C-EDB6-52AB-68E8E20DCEF7}"/>
              </a:ext>
            </a:extLst>
          </p:cNvPr>
          <p:cNvSpPr/>
          <p:nvPr/>
        </p:nvSpPr>
        <p:spPr>
          <a:xfrm>
            <a:off x="5831411" y="3839217"/>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Kneel down, cover your head and neck with your arms. This posture will prevent you from falling and partially protect vital organs.</a:t>
            </a:r>
          </a:p>
        </p:txBody>
      </p:sp>
      <p:sp>
        <p:nvSpPr>
          <p:cNvPr id="73" name="Rectangle 72">
            <a:extLst>
              <a:ext uri="{FF2B5EF4-FFF2-40B4-BE49-F238E27FC236}">
                <a16:creationId xmlns:a16="http://schemas.microsoft.com/office/drawing/2014/main" id="{9C86CFCF-7290-9FFE-BEAB-1FA2D67A3C88}"/>
              </a:ext>
            </a:extLst>
          </p:cNvPr>
          <p:cNvSpPr/>
          <p:nvPr/>
        </p:nvSpPr>
        <p:spPr>
          <a:xfrm>
            <a:off x="5180159" y="3839218"/>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4" name="L-Shape 73">
            <a:extLst>
              <a:ext uri="{FF2B5EF4-FFF2-40B4-BE49-F238E27FC236}">
                <a16:creationId xmlns:a16="http://schemas.microsoft.com/office/drawing/2014/main" id="{A053C19A-38A1-C7C7-53E6-87F351A8BF88}"/>
              </a:ext>
            </a:extLst>
          </p:cNvPr>
          <p:cNvSpPr/>
          <p:nvPr/>
        </p:nvSpPr>
        <p:spPr>
          <a:xfrm rot="13500000">
            <a:off x="5303027" y="404255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75" name="Straight Connector 74">
            <a:extLst>
              <a:ext uri="{FF2B5EF4-FFF2-40B4-BE49-F238E27FC236}">
                <a16:creationId xmlns:a16="http://schemas.microsoft.com/office/drawing/2014/main" id="{70FAA842-5D21-E625-D55B-0CB1F9A8CBFB}"/>
              </a:ext>
            </a:extLst>
          </p:cNvPr>
          <p:cNvCxnSpPr>
            <a:cxnSpLocks/>
          </p:cNvCxnSpPr>
          <p:nvPr/>
        </p:nvCxnSpPr>
        <p:spPr>
          <a:xfrm>
            <a:off x="5831411" y="3760846"/>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6" name="Straight Connector 75">
            <a:extLst>
              <a:ext uri="{FF2B5EF4-FFF2-40B4-BE49-F238E27FC236}">
                <a16:creationId xmlns:a16="http://schemas.microsoft.com/office/drawing/2014/main" id="{957D2CA1-D403-C980-F58A-536F6D58014A}"/>
              </a:ext>
            </a:extLst>
          </p:cNvPr>
          <p:cNvCxnSpPr>
            <a:cxnSpLocks/>
          </p:cNvCxnSpPr>
          <p:nvPr/>
        </p:nvCxnSpPr>
        <p:spPr>
          <a:xfrm>
            <a:off x="5831411" y="4588762"/>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F0709471-AB6A-FC77-830D-DDEFCBAEDBAA}"/>
              </a:ext>
            </a:extLst>
          </p:cNvPr>
          <p:cNvSpPr/>
          <p:nvPr/>
        </p:nvSpPr>
        <p:spPr>
          <a:xfrm>
            <a:off x="5831411" y="4667133"/>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Stay put until the collapse ends.</a:t>
            </a:r>
          </a:p>
        </p:txBody>
      </p:sp>
      <p:sp>
        <p:nvSpPr>
          <p:cNvPr id="78" name="Rectangle 77">
            <a:extLst>
              <a:ext uri="{FF2B5EF4-FFF2-40B4-BE49-F238E27FC236}">
                <a16:creationId xmlns:a16="http://schemas.microsoft.com/office/drawing/2014/main" id="{497B592F-2CA7-2C0B-CF35-2C645BBEBA04}"/>
              </a:ext>
            </a:extLst>
          </p:cNvPr>
          <p:cNvSpPr/>
          <p:nvPr/>
        </p:nvSpPr>
        <p:spPr>
          <a:xfrm>
            <a:off x="5180159" y="4667135"/>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9" name="L-Shape 78">
            <a:extLst>
              <a:ext uri="{FF2B5EF4-FFF2-40B4-BE49-F238E27FC236}">
                <a16:creationId xmlns:a16="http://schemas.microsoft.com/office/drawing/2014/main" id="{BCB7C98B-83FE-D198-ED60-F7364A0908C0}"/>
              </a:ext>
            </a:extLst>
          </p:cNvPr>
          <p:cNvSpPr/>
          <p:nvPr/>
        </p:nvSpPr>
        <p:spPr>
          <a:xfrm rot="13500000">
            <a:off x="5303027" y="487047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0" name="Rectangle 79">
            <a:extLst>
              <a:ext uri="{FF2B5EF4-FFF2-40B4-BE49-F238E27FC236}">
                <a16:creationId xmlns:a16="http://schemas.microsoft.com/office/drawing/2014/main" id="{BEF3E042-EAD3-8DE1-2389-A3B98EA88CB9}"/>
              </a:ext>
            </a:extLst>
          </p:cNvPr>
          <p:cNvSpPr/>
          <p:nvPr/>
        </p:nvSpPr>
        <p:spPr>
          <a:xfrm>
            <a:off x="5831411" y="5495051"/>
            <a:ext cx="5919788" cy="6794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When the collapse ends, leave the building, avoiding unstable objects or structures. </a:t>
            </a:r>
            <a:r>
              <a:rPr lang="en-gb" sz="1400" b="1" i="0">
                <a:solidFill>
                  <a:srgbClr val="A8192D"/>
                </a:solidFill>
                <a:effectLst/>
              </a:rPr>
              <a:t>Remember!</a:t>
            </a:r>
            <a:r>
              <a:rPr lang="en-gb" sz="1400" b="0" i="0">
                <a:solidFill>
                  <a:srgbClr val="A8192D"/>
                </a:solidFill>
                <a:effectLst/>
              </a:rPr>
              <a:t> Do not use the lift when leaving the building!</a:t>
            </a:r>
          </a:p>
        </p:txBody>
      </p:sp>
      <p:sp>
        <p:nvSpPr>
          <p:cNvPr id="81" name="Rectangle 80">
            <a:extLst>
              <a:ext uri="{FF2B5EF4-FFF2-40B4-BE49-F238E27FC236}">
                <a16:creationId xmlns:a16="http://schemas.microsoft.com/office/drawing/2014/main" id="{2B20D985-1A09-1E1A-8A91-B2D1F9EC154D}"/>
              </a:ext>
            </a:extLst>
          </p:cNvPr>
          <p:cNvSpPr/>
          <p:nvPr/>
        </p:nvSpPr>
        <p:spPr>
          <a:xfrm>
            <a:off x="5180159" y="5495051"/>
            <a:ext cx="576263" cy="6794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2" name="L-Shape 81">
            <a:extLst>
              <a:ext uri="{FF2B5EF4-FFF2-40B4-BE49-F238E27FC236}">
                <a16:creationId xmlns:a16="http://schemas.microsoft.com/office/drawing/2014/main" id="{1F0EB707-146A-7083-C7F8-D8B91A4BA780}"/>
              </a:ext>
            </a:extLst>
          </p:cNvPr>
          <p:cNvSpPr/>
          <p:nvPr/>
        </p:nvSpPr>
        <p:spPr>
          <a:xfrm rot="13500000">
            <a:off x="5293600" y="5698388"/>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83" name="Straight Connector 82">
            <a:extLst>
              <a:ext uri="{FF2B5EF4-FFF2-40B4-BE49-F238E27FC236}">
                <a16:creationId xmlns:a16="http://schemas.microsoft.com/office/drawing/2014/main" id="{932B34D4-AF5E-FC69-DBF7-6AE9C985A70B}"/>
              </a:ext>
            </a:extLst>
          </p:cNvPr>
          <p:cNvCxnSpPr>
            <a:cxnSpLocks/>
          </p:cNvCxnSpPr>
          <p:nvPr/>
        </p:nvCxnSpPr>
        <p:spPr>
          <a:xfrm>
            <a:off x="5831411" y="5416678"/>
            <a:ext cx="5919788"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7" name="Group 26">
            <a:extLst>
              <a:ext uri="{FF2B5EF4-FFF2-40B4-BE49-F238E27FC236}">
                <a16:creationId xmlns:a16="http://schemas.microsoft.com/office/drawing/2014/main" id="{755A2F43-690A-BA2B-4080-FA57075B5F4C}"/>
              </a:ext>
            </a:extLst>
          </p:cNvPr>
          <p:cNvGrpSpPr/>
          <p:nvPr/>
        </p:nvGrpSpPr>
        <p:grpSpPr>
          <a:xfrm>
            <a:off x="445641" y="2541720"/>
            <a:ext cx="576263" cy="432000"/>
            <a:chOff x="445641" y="2541720"/>
            <a:chExt cx="576263" cy="432000"/>
          </a:xfrm>
        </p:grpSpPr>
        <p:sp>
          <p:nvSpPr>
            <p:cNvPr id="92" name="Rectangle 91">
              <a:extLst>
                <a:ext uri="{FF2B5EF4-FFF2-40B4-BE49-F238E27FC236}">
                  <a16:creationId xmlns:a16="http://schemas.microsoft.com/office/drawing/2014/main" id="{BF9E9EDF-3AF8-1973-1707-768236F3A392}"/>
                </a:ext>
              </a:extLst>
            </p:cNvPr>
            <p:cNvSpPr/>
            <p:nvPr/>
          </p:nvSpPr>
          <p:spPr>
            <a:xfrm>
              <a:off x="445641" y="254172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3" name="L-Shape 92">
              <a:extLst>
                <a:ext uri="{FF2B5EF4-FFF2-40B4-BE49-F238E27FC236}">
                  <a16:creationId xmlns:a16="http://schemas.microsoft.com/office/drawing/2014/main" id="{0314C786-59A0-32D8-38D9-F844DF1CA7C7}"/>
                </a:ext>
              </a:extLst>
            </p:cNvPr>
            <p:cNvSpPr/>
            <p:nvPr/>
          </p:nvSpPr>
          <p:spPr>
            <a:xfrm rot="13500000">
              <a:off x="568509" y="26213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26" name="Group 25">
            <a:extLst>
              <a:ext uri="{FF2B5EF4-FFF2-40B4-BE49-F238E27FC236}">
                <a16:creationId xmlns:a16="http://schemas.microsoft.com/office/drawing/2014/main" id="{96F39947-955A-E23F-BD68-7AB190AF29C4}"/>
              </a:ext>
            </a:extLst>
          </p:cNvPr>
          <p:cNvGrpSpPr/>
          <p:nvPr/>
        </p:nvGrpSpPr>
        <p:grpSpPr>
          <a:xfrm>
            <a:off x="445640" y="3581972"/>
            <a:ext cx="576263" cy="603322"/>
            <a:chOff x="445640" y="3581972"/>
            <a:chExt cx="576263" cy="603322"/>
          </a:xfrm>
        </p:grpSpPr>
        <p:sp>
          <p:nvSpPr>
            <p:cNvPr id="96" name="Rectangle 95">
              <a:extLst>
                <a:ext uri="{FF2B5EF4-FFF2-40B4-BE49-F238E27FC236}">
                  <a16:creationId xmlns:a16="http://schemas.microsoft.com/office/drawing/2014/main" id="{278B5017-97C1-ADE0-A3C8-406A0A404E75}"/>
                </a:ext>
              </a:extLst>
            </p:cNvPr>
            <p:cNvSpPr/>
            <p:nvPr/>
          </p:nvSpPr>
          <p:spPr>
            <a:xfrm>
              <a:off x="445640" y="3581972"/>
              <a:ext cx="576263" cy="60332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7" name="L-Shape 96">
              <a:extLst>
                <a:ext uri="{FF2B5EF4-FFF2-40B4-BE49-F238E27FC236}">
                  <a16:creationId xmlns:a16="http://schemas.microsoft.com/office/drawing/2014/main" id="{8C9AFDE8-9F93-9827-B541-92580F60B883}"/>
                </a:ext>
              </a:extLst>
            </p:cNvPr>
            <p:cNvSpPr/>
            <p:nvPr/>
          </p:nvSpPr>
          <p:spPr>
            <a:xfrm rot="13500000">
              <a:off x="568508" y="374724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98" name="Rectangle 97">
            <a:extLst>
              <a:ext uri="{FF2B5EF4-FFF2-40B4-BE49-F238E27FC236}">
                <a16:creationId xmlns:a16="http://schemas.microsoft.com/office/drawing/2014/main" id="{8BD33588-1853-32E4-D3B1-751E4A1715CC}"/>
              </a:ext>
            </a:extLst>
          </p:cNvPr>
          <p:cNvSpPr/>
          <p:nvPr/>
        </p:nvSpPr>
        <p:spPr>
          <a:xfrm>
            <a:off x="440760" y="4334003"/>
            <a:ext cx="4378695"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solidFill>
                  <a:schemeClr val="tx1"/>
                </a:solidFill>
              </a:rPr>
              <a:t>If there is a risk of building collapse</a:t>
            </a:r>
            <a:endParaRPr lang="fi-FI" sz="1600" b="1">
              <a:solidFill>
                <a:schemeClr val="tx1"/>
              </a:solidFill>
            </a:endParaRPr>
          </a:p>
        </p:txBody>
      </p:sp>
      <p:sp>
        <p:nvSpPr>
          <p:cNvPr id="100" name="Rectangle 99">
            <a:extLst>
              <a:ext uri="{FF2B5EF4-FFF2-40B4-BE49-F238E27FC236}">
                <a16:creationId xmlns:a16="http://schemas.microsoft.com/office/drawing/2014/main" id="{84096BBD-C066-0550-82E9-4A74096E56D6}"/>
              </a:ext>
            </a:extLst>
          </p:cNvPr>
          <p:cNvSpPr/>
          <p:nvPr/>
        </p:nvSpPr>
        <p:spPr>
          <a:xfrm>
            <a:off x="4243455" y="4334003"/>
            <a:ext cx="576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101" name="Rectangle 100">
            <a:extLst>
              <a:ext uri="{FF2B5EF4-FFF2-40B4-BE49-F238E27FC236}">
                <a16:creationId xmlns:a16="http://schemas.microsoft.com/office/drawing/2014/main" id="{F9037D17-5A5A-C117-143A-25F890F1ACB5}"/>
              </a:ext>
            </a:extLst>
          </p:cNvPr>
          <p:cNvSpPr/>
          <p:nvPr/>
        </p:nvSpPr>
        <p:spPr>
          <a:xfrm>
            <a:off x="4172567" y="4334003"/>
            <a:ext cx="72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102" name="Google Shape;1770;p93">
            <a:extLst>
              <a:ext uri="{FF2B5EF4-FFF2-40B4-BE49-F238E27FC236}">
                <a16:creationId xmlns:a16="http://schemas.microsoft.com/office/drawing/2014/main" id="{172DD8C4-2B97-3E9C-884B-B2A640C7829B}"/>
              </a:ext>
            </a:extLst>
          </p:cNvPr>
          <p:cNvGrpSpPr/>
          <p:nvPr/>
        </p:nvGrpSpPr>
        <p:grpSpPr>
          <a:xfrm>
            <a:off x="4351455" y="4442003"/>
            <a:ext cx="360000" cy="360000"/>
            <a:chOff x="7461366" y="2560815"/>
            <a:chExt cx="457200" cy="457200"/>
          </a:xfrm>
          <a:solidFill>
            <a:schemeClr val="tx1"/>
          </a:solidFill>
        </p:grpSpPr>
        <p:grpSp>
          <p:nvGrpSpPr>
            <p:cNvPr id="103" name="Google Shape;1771;p93">
              <a:extLst>
                <a:ext uri="{FF2B5EF4-FFF2-40B4-BE49-F238E27FC236}">
                  <a16:creationId xmlns:a16="http://schemas.microsoft.com/office/drawing/2014/main" id="{61BCCF13-157B-24D5-B1AF-7CB0BF6C9970}"/>
                </a:ext>
              </a:extLst>
            </p:cNvPr>
            <p:cNvGrpSpPr/>
            <p:nvPr/>
          </p:nvGrpSpPr>
          <p:grpSpPr>
            <a:xfrm>
              <a:off x="7461366" y="2560815"/>
              <a:ext cx="457200" cy="457200"/>
              <a:chOff x="7461366" y="2560815"/>
              <a:chExt cx="457200" cy="457200"/>
            </a:xfrm>
            <a:grpFill/>
          </p:grpSpPr>
          <p:sp>
            <p:nvSpPr>
              <p:cNvPr id="105" name="Google Shape;1772;p93">
                <a:extLst>
                  <a:ext uri="{FF2B5EF4-FFF2-40B4-BE49-F238E27FC236}">
                    <a16:creationId xmlns:a16="http://schemas.microsoft.com/office/drawing/2014/main" id="{2E3B2AC8-9BB0-A537-E473-2F14E6CC3F61}"/>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6" name="Google Shape;1773;p93">
                <a:extLst>
                  <a:ext uri="{FF2B5EF4-FFF2-40B4-BE49-F238E27FC236}">
                    <a16:creationId xmlns:a16="http://schemas.microsoft.com/office/drawing/2014/main" id="{AD48F423-BC13-793F-BCAD-AE51747BBC47}"/>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7" name="Google Shape;1774;p93">
                <a:extLst>
                  <a:ext uri="{FF2B5EF4-FFF2-40B4-BE49-F238E27FC236}">
                    <a16:creationId xmlns:a16="http://schemas.microsoft.com/office/drawing/2014/main" id="{2D0B39F0-A90E-62AF-1AF4-8097B2AF8AC5}"/>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8" name="Google Shape;1775;p93">
                <a:extLst>
                  <a:ext uri="{FF2B5EF4-FFF2-40B4-BE49-F238E27FC236}">
                    <a16:creationId xmlns:a16="http://schemas.microsoft.com/office/drawing/2014/main" id="{08B1FB2C-20BF-FED0-9F78-F195A0E0DF55}"/>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104" name="Google Shape;1776;p93">
              <a:extLst>
                <a:ext uri="{FF2B5EF4-FFF2-40B4-BE49-F238E27FC236}">
                  <a16:creationId xmlns:a16="http://schemas.microsoft.com/office/drawing/2014/main" id="{B4EE9356-70CE-F152-BA6D-9CAF7C5429D8}"/>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cxnSp>
        <p:nvCxnSpPr>
          <p:cNvPr id="112" name="Straight Connector 111">
            <a:extLst>
              <a:ext uri="{FF2B5EF4-FFF2-40B4-BE49-F238E27FC236}">
                <a16:creationId xmlns:a16="http://schemas.microsoft.com/office/drawing/2014/main" id="{CD39ED22-5598-40BF-6185-A1CD21019034}"/>
              </a:ext>
            </a:extLst>
          </p:cNvPr>
          <p:cNvCxnSpPr>
            <a:cxnSpLocks/>
          </p:cNvCxnSpPr>
          <p:nvPr/>
        </p:nvCxnSpPr>
        <p:spPr>
          <a:xfrm>
            <a:off x="1108155" y="5602799"/>
            <a:ext cx="37226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15" name="Rectangle 114">
            <a:extLst>
              <a:ext uri="{FF2B5EF4-FFF2-40B4-BE49-F238E27FC236}">
                <a16:creationId xmlns:a16="http://schemas.microsoft.com/office/drawing/2014/main" id="{AC9AFDE3-6025-D33B-9BCE-048E2F44448D}"/>
              </a:ext>
            </a:extLst>
          </p:cNvPr>
          <p:cNvSpPr/>
          <p:nvPr/>
        </p:nvSpPr>
        <p:spPr>
          <a:xfrm>
            <a:off x="1098551" y="5662034"/>
            <a:ext cx="3729600" cy="50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Do not use the lift.</a:t>
            </a:r>
          </a:p>
        </p:txBody>
      </p:sp>
      <p:sp>
        <p:nvSpPr>
          <p:cNvPr id="117" name="Rectangle 116">
            <a:extLst>
              <a:ext uri="{FF2B5EF4-FFF2-40B4-BE49-F238E27FC236}">
                <a16:creationId xmlns:a16="http://schemas.microsoft.com/office/drawing/2014/main" id="{7FF0E3A3-5055-1E1C-2ECB-311B2F5110A2}"/>
              </a:ext>
            </a:extLst>
          </p:cNvPr>
          <p:cNvSpPr/>
          <p:nvPr/>
        </p:nvSpPr>
        <p:spPr>
          <a:xfrm>
            <a:off x="5831411" y="3011290"/>
            <a:ext cx="5918870" cy="67946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Try to take shelter under a strong protective barrier, e.g. in a doorway of a load-bearing inner wall, under a table. Do not approach or seek shelter near windows or external walls.</a:t>
            </a:r>
          </a:p>
        </p:txBody>
      </p:sp>
      <p:sp>
        <p:nvSpPr>
          <p:cNvPr id="118" name="Rectangle 117">
            <a:extLst>
              <a:ext uri="{FF2B5EF4-FFF2-40B4-BE49-F238E27FC236}">
                <a16:creationId xmlns:a16="http://schemas.microsoft.com/office/drawing/2014/main" id="{4AEB3601-F0EB-A240-03AE-7A3E85EB8BEF}"/>
              </a:ext>
            </a:extLst>
          </p:cNvPr>
          <p:cNvSpPr/>
          <p:nvPr/>
        </p:nvSpPr>
        <p:spPr>
          <a:xfrm>
            <a:off x="5170732" y="3011126"/>
            <a:ext cx="576263" cy="6796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19" name="L-Shape 118">
            <a:extLst>
              <a:ext uri="{FF2B5EF4-FFF2-40B4-BE49-F238E27FC236}">
                <a16:creationId xmlns:a16="http://schemas.microsoft.com/office/drawing/2014/main" id="{045D6976-7AD8-9FC3-F424-6EBAACDB27F2}"/>
              </a:ext>
            </a:extLst>
          </p:cNvPr>
          <p:cNvSpPr/>
          <p:nvPr/>
        </p:nvSpPr>
        <p:spPr>
          <a:xfrm rot="13500000">
            <a:off x="5293600" y="3214550"/>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 name="Rectangle 4">
            <a:extLst>
              <a:ext uri="{FF2B5EF4-FFF2-40B4-BE49-F238E27FC236}">
                <a16:creationId xmlns:a16="http://schemas.microsoft.com/office/drawing/2014/main" id="{08AF9865-EA04-B5FE-ECB3-0DFD79D01630}"/>
              </a:ext>
            </a:extLst>
          </p:cNvPr>
          <p:cNvSpPr/>
          <p:nvPr/>
        </p:nvSpPr>
        <p:spPr>
          <a:xfrm>
            <a:off x="5169945" y="1823905"/>
            <a:ext cx="6571868"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solidFill>
                  <a:schemeClr val="bg1"/>
                </a:solidFill>
              </a:rPr>
              <a:t>If the building has started to collapse:</a:t>
            </a:r>
            <a:endParaRPr lang="fi-FI" sz="1600" b="1">
              <a:solidFill>
                <a:schemeClr val="bg1"/>
              </a:solidFill>
            </a:endParaRPr>
          </a:p>
        </p:txBody>
      </p:sp>
      <p:sp>
        <p:nvSpPr>
          <p:cNvPr id="7" name="Rectangle 6">
            <a:extLst>
              <a:ext uri="{FF2B5EF4-FFF2-40B4-BE49-F238E27FC236}">
                <a16:creationId xmlns:a16="http://schemas.microsoft.com/office/drawing/2014/main" id="{293E70AC-8F36-D5C1-9C78-F73A587EBFD0}"/>
              </a:ext>
            </a:extLst>
          </p:cNvPr>
          <p:cNvSpPr/>
          <p:nvPr/>
        </p:nvSpPr>
        <p:spPr>
          <a:xfrm>
            <a:off x="11174280" y="182390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8" name="Rectangle 7">
            <a:extLst>
              <a:ext uri="{FF2B5EF4-FFF2-40B4-BE49-F238E27FC236}">
                <a16:creationId xmlns:a16="http://schemas.microsoft.com/office/drawing/2014/main" id="{03F5422C-BA1B-802C-754F-B3D9F62FAA9F}"/>
              </a:ext>
            </a:extLst>
          </p:cNvPr>
          <p:cNvSpPr/>
          <p:nvPr/>
        </p:nvSpPr>
        <p:spPr>
          <a:xfrm>
            <a:off x="11094925" y="182390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 name="Google Shape;2220;p101">
            <a:extLst>
              <a:ext uri="{FF2B5EF4-FFF2-40B4-BE49-F238E27FC236}">
                <a16:creationId xmlns:a16="http://schemas.microsoft.com/office/drawing/2014/main" id="{0282BEA9-0B55-4AE6-61FA-2053FCEB1934}"/>
              </a:ext>
            </a:extLst>
          </p:cNvPr>
          <p:cNvSpPr/>
          <p:nvPr/>
        </p:nvSpPr>
        <p:spPr>
          <a:xfrm>
            <a:off x="11318280" y="1959438"/>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6" name="Rectangle 15">
            <a:extLst>
              <a:ext uri="{FF2B5EF4-FFF2-40B4-BE49-F238E27FC236}">
                <a16:creationId xmlns:a16="http://schemas.microsoft.com/office/drawing/2014/main" id="{21E7A931-656F-37BB-FF3F-D62B6BDA61B2}"/>
              </a:ext>
            </a:extLst>
          </p:cNvPr>
          <p:cNvSpPr/>
          <p:nvPr/>
        </p:nvSpPr>
        <p:spPr>
          <a:xfrm>
            <a:off x="445640" y="5058712"/>
            <a:ext cx="576263" cy="4826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7" name="L-Shape 16">
            <a:extLst>
              <a:ext uri="{FF2B5EF4-FFF2-40B4-BE49-F238E27FC236}">
                <a16:creationId xmlns:a16="http://schemas.microsoft.com/office/drawing/2014/main" id="{EDFD6E63-EC15-212C-C517-4142999EC0F9}"/>
              </a:ext>
            </a:extLst>
          </p:cNvPr>
          <p:cNvSpPr/>
          <p:nvPr/>
        </p:nvSpPr>
        <p:spPr>
          <a:xfrm rot="13500000">
            <a:off x="568730" y="5163624"/>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0" name="Rectangle 19">
            <a:extLst>
              <a:ext uri="{FF2B5EF4-FFF2-40B4-BE49-F238E27FC236}">
                <a16:creationId xmlns:a16="http://schemas.microsoft.com/office/drawing/2014/main" id="{1E1B3E0C-7586-73A2-3EEA-250B7BE6167F}"/>
              </a:ext>
            </a:extLst>
          </p:cNvPr>
          <p:cNvSpPr/>
          <p:nvPr/>
        </p:nvSpPr>
        <p:spPr>
          <a:xfrm>
            <a:off x="445640" y="5691550"/>
            <a:ext cx="576263" cy="48295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1" name="L-Shape 20">
            <a:extLst>
              <a:ext uri="{FF2B5EF4-FFF2-40B4-BE49-F238E27FC236}">
                <a16:creationId xmlns:a16="http://schemas.microsoft.com/office/drawing/2014/main" id="{F6B6ACE7-0EE3-3EFF-78BA-65B7BFE053B3}"/>
              </a:ext>
            </a:extLst>
          </p:cNvPr>
          <p:cNvSpPr/>
          <p:nvPr/>
        </p:nvSpPr>
        <p:spPr>
          <a:xfrm rot="13500000">
            <a:off x="568730" y="5796637"/>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29" name="Group 28">
            <a:extLst>
              <a:ext uri="{FF2B5EF4-FFF2-40B4-BE49-F238E27FC236}">
                <a16:creationId xmlns:a16="http://schemas.microsoft.com/office/drawing/2014/main" id="{DFC58948-A0E6-6BC3-82B8-5DCB9941D448}"/>
              </a:ext>
            </a:extLst>
          </p:cNvPr>
          <p:cNvGrpSpPr/>
          <p:nvPr/>
        </p:nvGrpSpPr>
        <p:grpSpPr>
          <a:xfrm>
            <a:off x="442913" y="3061846"/>
            <a:ext cx="576263" cy="432000"/>
            <a:chOff x="445641" y="2541720"/>
            <a:chExt cx="576263" cy="432000"/>
          </a:xfrm>
        </p:grpSpPr>
        <p:sp>
          <p:nvSpPr>
            <p:cNvPr id="30" name="Rectangle 29">
              <a:extLst>
                <a:ext uri="{FF2B5EF4-FFF2-40B4-BE49-F238E27FC236}">
                  <a16:creationId xmlns:a16="http://schemas.microsoft.com/office/drawing/2014/main" id="{BBB27E34-3A4B-ECB6-CC23-94CB28BDF924}"/>
                </a:ext>
              </a:extLst>
            </p:cNvPr>
            <p:cNvSpPr/>
            <p:nvPr/>
          </p:nvSpPr>
          <p:spPr>
            <a:xfrm>
              <a:off x="445641" y="254172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1" name="L-Shape 30">
              <a:extLst>
                <a:ext uri="{FF2B5EF4-FFF2-40B4-BE49-F238E27FC236}">
                  <a16:creationId xmlns:a16="http://schemas.microsoft.com/office/drawing/2014/main" id="{D48DA630-5E68-C96F-2DF5-BABBD8E00379}"/>
                </a:ext>
              </a:extLst>
            </p:cNvPr>
            <p:cNvSpPr/>
            <p:nvPr/>
          </p:nvSpPr>
          <p:spPr>
            <a:xfrm rot="13500000">
              <a:off x="568509" y="262133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44" name="Google Shape;707;p79">
            <a:extLst>
              <a:ext uri="{FF2B5EF4-FFF2-40B4-BE49-F238E27FC236}">
                <a16:creationId xmlns:a16="http://schemas.microsoft.com/office/drawing/2014/main" id="{655DA197-79DB-4474-F05A-2ECAE37EF54D}"/>
              </a:ext>
            </a:extLst>
          </p:cNvPr>
          <p:cNvGrpSpPr/>
          <p:nvPr/>
        </p:nvGrpSpPr>
        <p:grpSpPr>
          <a:xfrm>
            <a:off x="4341297" y="1928250"/>
            <a:ext cx="360000" cy="360000"/>
            <a:chOff x="4276447" y="6040963"/>
            <a:chExt cx="457199" cy="457200"/>
          </a:xfrm>
          <a:solidFill>
            <a:schemeClr val="bg1"/>
          </a:solidFill>
        </p:grpSpPr>
        <p:sp>
          <p:nvSpPr>
            <p:cNvPr id="46" name="Google Shape;708;p79">
              <a:extLst>
                <a:ext uri="{FF2B5EF4-FFF2-40B4-BE49-F238E27FC236}">
                  <a16:creationId xmlns:a16="http://schemas.microsoft.com/office/drawing/2014/main" id="{0BD087F2-2E07-B00B-43E0-AA35F9DA762C}"/>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48" name="Google Shape;709;p79">
              <a:extLst>
                <a:ext uri="{FF2B5EF4-FFF2-40B4-BE49-F238E27FC236}">
                  <a16:creationId xmlns:a16="http://schemas.microsoft.com/office/drawing/2014/main" id="{3EE1E5DA-A6F0-A74A-35A6-8F06156966F3}"/>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grpSp>
        <p:nvGrpSpPr>
          <p:cNvPr id="14" name="Group 13">
            <a:extLst>
              <a:ext uri="{FF2B5EF4-FFF2-40B4-BE49-F238E27FC236}">
                <a16:creationId xmlns:a16="http://schemas.microsoft.com/office/drawing/2014/main" id="{5C87E069-4E84-08CD-4CF6-313BFE3D5A7D}"/>
              </a:ext>
            </a:extLst>
          </p:cNvPr>
          <p:cNvGrpSpPr/>
          <p:nvPr/>
        </p:nvGrpSpPr>
        <p:grpSpPr>
          <a:xfrm>
            <a:off x="8844369" y="159786"/>
            <a:ext cx="2904719" cy="220267"/>
            <a:chOff x="8844369" y="159786"/>
            <a:chExt cx="2904719" cy="220267"/>
          </a:xfrm>
        </p:grpSpPr>
        <p:sp>
          <p:nvSpPr>
            <p:cNvPr id="15" name="Rectangle 14">
              <a:extLst>
                <a:ext uri="{FF2B5EF4-FFF2-40B4-BE49-F238E27FC236}">
                  <a16:creationId xmlns:a16="http://schemas.microsoft.com/office/drawing/2014/main" id="{9B2D445F-E57F-45B8-E156-3C79D442AA00}"/>
                </a:ext>
              </a:extLst>
            </p:cNvPr>
            <p:cNvSpPr/>
            <p:nvPr/>
          </p:nvSpPr>
          <p:spPr>
            <a:xfrm>
              <a:off x="9327597" y="159786"/>
              <a:ext cx="2179876"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Anthropogenic disasters</a:t>
              </a:r>
              <a:endParaRPr kumimoji="0" lang="en-US" sz="800" b="1" i="0" u="none" strike="noStrike" kern="0" cap="none" spc="0" normalizeH="0" baseline="0" dirty="0">
                <a:ln>
                  <a:noFill/>
                </a:ln>
                <a:effectLst/>
                <a:uLnTx/>
                <a:uFillTx/>
                <a:ea typeface="Georgia"/>
                <a:cs typeface="Georgia"/>
                <a:sym typeface="Georgia"/>
              </a:endParaRPr>
            </a:p>
          </p:txBody>
        </p:sp>
        <p:sp>
          <p:nvSpPr>
            <p:cNvPr id="18" name="Rectangle 17">
              <a:extLst>
                <a:ext uri="{FF2B5EF4-FFF2-40B4-BE49-F238E27FC236}">
                  <a16:creationId xmlns:a16="http://schemas.microsoft.com/office/drawing/2014/main" id="{C59808E5-8373-811A-F582-270C9A4EE3A9}"/>
                </a:ext>
              </a:extLst>
            </p:cNvPr>
            <p:cNvSpPr/>
            <p:nvPr/>
          </p:nvSpPr>
          <p:spPr>
            <a:xfrm>
              <a:off x="9085983"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21C1C6EF-E73D-A796-08E3-45F679DE7BE3}"/>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B654F3B5-F172-BB8E-94DB-132AAC6AD2BE}"/>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843931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hink-cell data - do not delete" hidden="1">
            <a:extLst>
              <a:ext uri="{FF2B5EF4-FFF2-40B4-BE49-F238E27FC236}">
                <a16:creationId xmlns:a16="http://schemas.microsoft.com/office/drawing/2014/main" id="{B2A65D0B-72C5-2626-590C-FBAC85E1DDCC}"/>
              </a:ext>
            </a:extLst>
          </p:cNvPr>
          <p:cNvGraphicFramePr>
            <a:graphicFrameLocks noChangeAspect="1"/>
          </p:cNvGraphicFramePr>
          <p:nvPr>
            <p:custDataLst>
              <p:tags r:id="rId1"/>
            </p:custDataLst>
            <p:extLst>
              <p:ext uri="{D42A27DB-BD31-4B8C-83A1-F6EECF244321}">
                <p14:modId xmlns:p14="http://schemas.microsoft.com/office/powerpoint/2010/main" val="6516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8" name="think-cell data - do not delete" hidden="1">
                        <a:extLst>
                          <a:ext uri="{FF2B5EF4-FFF2-40B4-BE49-F238E27FC236}">
                            <a16:creationId xmlns:a16="http://schemas.microsoft.com/office/drawing/2014/main" id="{B2A65D0B-72C5-2626-590C-FBAC85E1DD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On-site release of hazardous chemicals</a:t>
            </a:r>
            <a:br>
              <a:rPr lang="lv-LV"/>
            </a:br>
            <a:r>
              <a:rPr lang="en-gb">
                <a:solidFill>
                  <a:srgbClr val="A8192D"/>
                </a:solidFill>
              </a:rPr>
              <a:t>How to proceed? (1/2)</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2</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6771498"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solidFill>
                  <a:schemeClr val="tx1"/>
                </a:solidFill>
              </a:rPr>
              <a:t>What if there is a spill of hazardous chemicals or a radiation accident and you are outside?</a:t>
            </a:r>
          </a:p>
        </p:txBody>
      </p:sp>
      <p:sp>
        <p:nvSpPr>
          <p:cNvPr id="10" name="Rectangle 9">
            <a:extLst>
              <a:ext uri="{FF2B5EF4-FFF2-40B4-BE49-F238E27FC236}">
                <a16:creationId xmlns:a16="http://schemas.microsoft.com/office/drawing/2014/main" id="{09A66239-710D-C797-94B6-F20E65399ECA}"/>
              </a:ext>
            </a:extLst>
          </p:cNvPr>
          <p:cNvSpPr/>
          <p:nvPr/>
        </p:nvSpPr>
        <p:spPr>
          <a:xfrm>
            <a:off x="1107652" y="2538660"/>
            <a:ext cx="6753647" cy="74751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When at or near the epicentre of the event, stand perpendicular to the 90° wind direction (with the wind blowing from the side) and walk at least 800 metres forward out of the danger area.</a:t>
            </a:r>
          </a:p>
        </p:txBody>
      </p:sp>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74751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77603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7653" y="3346668"/>
            <a:ext cx="675364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7285299" y="1819275"/>
            <a:ext cx="576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7214411" y="1819275"/>
            <a:ext cx="72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7653" y="3974881"/>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7653" y="4731072"/>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7653" y="5487263"/>
            <a:ext cx="6753054" cy="367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3" y="3407364"/>
            <a:ext cx="6753054"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Inform others about what happened.</a:t>
            </a:r>
          </a:p>
        </p:txBody>
      </p:sp>
      <p:sp>
        <p:nvSpPr>
          <p:cNvPr id="21" name="Rectangle 20">
            <a:extLst>
              <a:ext uri="{FF2B5EF4-FFF2-40B4-BE49-F238E27FC236}">
                <a16:creationId xmlns:a16="http://schemas.microsoft.com/office/drawing/2014/main" id="{8E7FE903-AF5E-C170-6243-035D5D1DF699}"/>
              </a:ext>
            </a:extLst>
          </p:cNvPr>
          <p:cNvSpPr/>
          <p:nvPr/>
        </p:nvSpPr>
        <p:spPr>
          <a:xfrm>
            <a:off x="1107653" y="4047815"/>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Do not touch liquid or solid chemicals, or enter clouds of smoke or mist. Cover your mouth with a cloth or clothing when leaving the contaminated area.</a:t>
            </a:r>
          </a:p>
        </p:txBody>
      </p:sp>
      <p:sp>
        <p:nvSpPr>
          <p:cNvPr id="22" name="Rectangle 21">
            <a:extLst>
              <a:ext uri="{FF2B5EF4-FFF2-40B4-BE49-F238E27FC236}">
                <a16:creationId xmlns:a16="http://schemas.microsoft.com/office/drawing/2014/main" id="{3175BAF5-8B83-02AB-BA0E-05A959B921B4}"/>
              </a:ext>
            </a:extLst>
          </p:cNvPr>
          <p:cNvSpPr/>
          <p:nvPr/>
        </p:nvSpPr>
        <p:spPr>
          <a:xfrm>
            <a:off x="1107653" y="4804006"/>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If you have been exposed to dangerous substances and feel unwell, seek medical help.</a:t>
            </a:r>
          </a:p>
        </p:txBody>
      </p:sp>
      <p:sp>
        <p:nvSpPr>
          <p:cNvPr id="24" name="Rectangle 23">
            <a:extLst>
              <a:ext uri="{FF2B5EF4-FFF2-40B4-BE49-F238E27FC236}">
                <a16:creationId xmlns:a16="http://schemas.microsoft.com/office/drawing/2014/main" id="{0FFE8E1F-D4A6-4A00-83F0-7BA72605D4CF}"/>
              </a:ext>
            </a:extLst>
          </p:cNvPr>
          <p:cNvSpPr/>
          <p:nvPr/>
        </p:nvSpPr>
        <p:spPr>
          <a:xfrm>
            <a:off x="1107653" y="5560198"/>
            <a:ext cx="6753054"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Do not return to the premises without the permission of the emergency services. Open the windows to ventilate the rooms.</a:t>
            </a:r>
          </a:p>
        </p:txBody>
      </p:sp>
      <p:sp>
        <p:nvSpPr>
          <p:cNvPr id="25" name="Rectangle 24">
            <a:extLst>
              <a:ext uri="{FF2B5EF4-FFF2-40B4-BE49-F238E27FC236}">
                <a16:creationId xmlns:a16="http://schemas.microsoft.com/office/drawing/2014/main" id="{65252F37-AAFD-36B4-8412-49AED4BC1668}"/>
              </a:ext>
            </a:extLst>
          </p:cNvPr>
          <p:cNvSpPr/>
          <p:nvPr/>
        </p:nvSpPr>
        <p:spPr>
          <a:xfrm>
            <a:off x="442913" y="3407160"/>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52021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Rectangle 26">
            <a:extLst>
              <a:ext uri="{FF2B5EF4-FFF2-40B4-BE49-F238E27FC236}">
                <a16:creationId xmlns:a16="http://schemas.microsoft.com/office/drawing/2014/main" id="{C3904226-BC52-7EEB-17E4-9D5BBA060485}"/>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9" name="Rectangle 28">
            <a:extLst>
              <a:ext uri="{FF2B5EF4-FFF2-40B4-BE49-F238E27FC236}">
                <a16:creationId xmlns:a16="http://schemas.microsoft.com/office/drawing/2014/main" id="{513B3D2D-CE2B-998E-5C33-317F744DFD24}"/>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1" name="Rectangle 30">
            <a:extLst>
              <a:ext uri="{FF2B5EF4-FFF2-40B4-BE49-F238E27FC236}">
                <a16:creationId xmlns:a16="http://schemas.microsoft.com/office/drawing/2014/main" id="{81AADF20-6B15-BD93-E6FB-FE22A6F5C8F1}"/>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pic>
        <p:nvPicPr>
          <p:cNvPr id="43" name="Picture 42">
            <a:extLst>
              <a:ext uri="{FF2B5EF4-FFF2-40B4-BE49-F238E27FC236}">
                <a16:creationId xmlns:a16="http://schemas.microsoft.com/office/drawing/2014/main" id="{DE7883B9-B3FB-0916-288C-4F40B8BD322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218488" y="1819275"/>
            <a:ext cx="3530600" cy="4352922"/>
          </a:xfrm>
          <a:prstGeom prst="rect">
            <a:avLst/>
          </a:prstGeom>
        </p:spPr>
      </p:pic>
      <p:sp>
        <p:nvSpPr>
          <p:cNvPr id="45" name="Google Shape;1023;p85">
            <a:extLst>
              <a:ext uri="{FF2B5EF4-FFF2-40B4-BE49-F238E27FC236}">
                <a16:creationId xmlns:a16="http://schemas.microsoft.com/office/drawing/2014/main" id="{05FBC0AA-91A2-6700-B647-A7532826E011}"/>
              </a:ext>
            </a:extLst>
          </p:cNvPr>
          <p:cNvSpPr/>
          <p:nvPr/>
        </p:nvSpPr>
        <p:spPr>
          <a:xfrm>
            <a:off x="7429299" y="1963275"/>
            <a:ext cx="288000" cy="288000"/>
          </a:xfrm>
          <a:custGeom>
            <a:avLst/>
            <a:gdLst/>
            <a:ahLst/>
            <a:cxnLst/>
            <a:rect l="l" t="t" r="r" b="b"/>
            <a:pathLst>
              <a:path w="453744" h="453590" extrusionOk="0">
                <a:moveTo>
                  <a:pt x="0" y="0"/>
                </a:moveTo>
                <a:lnTo>
                  <a:pt x="0" y="453590"/>
                </a:lnTo>
                <a:lnTo>
                  <a:pt x="453744" y="453590"/>
                </a:lnTo>
                <a:lnTo>
                  <a:pt x="453744" y="0"/>
                </a:lnTo>
                <a:close/>
                <a:moveTo>
                  <a:pt x="434397" y="434250"/>
                </a:moveTo>
                <a:lnTo>
                  <a:pt x="19347" y="434250"/>
                </a:lnTo>
                <a:lnTo>
                  <a:pt x="19347" y="19341"/>
                </a:lnTo>
                <a:lnTo>
                  <a:pt x="434397" y="19341"/>
                </a:lnTo>
                <a:close/>
                <a:moveTo>
                  <a:pt x="236325" y="215203"/>
                </a:moveTo>
                <a:lnTo>
                  <a:pt x="236325" y="254168"/>
                </a:lnTo>
                <a:lnTo>
                  <a:pt x="225423" y="254168"/>
                </a:lnTo>
                <a:lnTo>
                  <a:pt x="225423" y="215203"/>
                </a:lnTo>
                <a:close/>
                <a:moveTo>
                  <a:pt x="230874" y="268532"/>
                </a:moveTo>
                <a:cubicBezTo>
                  <a:pt x="235399" y="268513"/>
                  <a:pt x="239079" y="272167"/>
                  <a:pt x="239098" y="276690"/>
                </a:cubicBezTo>
                <a:cubicBezTo>
                  <a:pt x="239114" y="281213"/>
                  <a:pt x="235462" y="284892"/>
                  <a:pt x="230937" y="284911"/>
                </a:cubicBezTo>
                <a:cubicBezTo>
                  <a:pt x="226412" y="284927"/>
                  <a:pt x="222732" y="281276"/>
                  <a:pt x="222713" y="276753"/>
                </a:cubicBezTo>
                <a:cubicBezTo>
                  <a:pt x="222713" y="276731"/>
                  <a:pt x="222713" y="276712"/>
                  <a:pt x="222713" y="276690"/>
                </a:cubicBezTo>
                <a:cubicBezTo>
                  <a:pt x="222713" y="272186"/>
                  <a:pt x="226368" y="268532"/>
                  <a:pt x="230874" y="268532"/>
                </a:cubicBezTo>
                <a:close/>
                <a:moveTo>
                  <a:pt x="293390" y="80670"/>
                </a:moveTo>
                <a:lnTo>
                  <a:pt x="264779" y="80670"/>
                </a:lnTo>
                <a:lnTo>
                  <a:pt x="264779" y="69456"/>
                </a:lnTo>
                <a:lnTo>
                  <a:pt x="293390" y="69456"/>
                </a:lnTo>
                <a:close/>
                <a:moveTo>
                  <a:pt x="215592" y="172805"/>
                </a:moveTo>
                <a:lnTo>
                  <a:pt x="131334" y="172805"/>
                </a:lnTo>
                <a:lnTo>
                  <a:pt x="130514" y="100073"/>
                </a:lnTo>
                <a:lnTo>
                  <a:pt x="323041" y="100073"/>
                </a:lnTo>
                <a:lnTo>
                  <a:pt x="323041" y="172805"/>
                </a:lnTo>
                <a:lnTo>
                  <a:pt x="246251" y="172805"/>
                </a:lnTo>
                <a:lnTo>
                  <a:pt x="239949" y="161812"/>
                </a:lnTo>
                <a:cubicBezTo>
                  <a:pt x="237085" y="156835"/>
                  <a:pt x="230726" y="155125"/>
                  <a:pt x="225750" y="157988"/>
                </a:cubicBezTo>
                <a:cubicBezTo>
                  <a:pt x="224159" y="158905"/>
                  <a:pt x="222839" y="160221"/>
                  <a:pt x="221925" y="161812"/>
                </a:cubicBezTo>
                <a:close/>
                <a:moveTo>
                  <a:pt x="257531" y="192240"/>
                </a:moveTo>
                <a:lnTo>
                  <a:pt x="323261" y="192240"/>
                </a:lnTo>
                <a:lnTo>
                  <a:pt x="323419" y="279367"/>
                </a:lnTo>
                <a:lnTo>
                  <a:pt x="307853" y="279367"/>
                </a:lnTo>
                <a:close/>
                <a:moveTo>
                  <a:pt x="154021" y="279367"/>
                </a:moveTo>
                <a:lnTo>
                  <a:pt x="132437" y="279367"/>
                </a:lnTo>
                <a:lnTo>
                  <a:pt x="131586" y="192240"/>
                </a:lnTo>
                <a:lnTo>
                  <a:pt x="204374" y="192240"/>
                </a:lnTo>
                <a:close/>
                <a:moveTo>
                  <a:pt x="323450" y="298803"/>
                </a:moveTo>
                <a:lnTo>
                  <a:pt x="323450" y="376102"/>
                </a:lnTo>
                <a:lnTo>
                  <a:pt x="133287" y="376102"/>
                </a:lnTo>
                <a:lnTo>
                  <a:pt x="132563" y="298803"/>
                </a:lnTo>
                <a:lnTo>
                  <a:pt x="143717" y="298803"/>
                </a:lnTo>
                <a:cubicBezTo>
                  <a:pt x="143074" y="304526"/>
                  <a:pt x="147193" y="309686"/>
                  <a:pt x="152915" y="310328"/>
                </a:cubicBezTo>
                <a:cubicBezTo>
                  <a:pt x="153303" y="310372"/>
                  <a:pt x="153693" y="310394"/>
                  <a:pt x="154084" y="310394"/>
                </a:cubicBezTo>
                <a:lnTo>
                  <a:pt x="307695" y="310394"/>
                </a:lnTo>
                <a:cubicBezTo>
                  <a:pt x="313455" y="310379"/>
                  <a:pt x="318113" y="305698"/>
                  <a:pt x="318097" y="299940"/>
                </a:cubicBezTo>
                <a:cubicBezTo>
                  <a:pt x="318094" y="299559"/>
                  <a:pt x="318072" y="299181"/>
                  <a:pt x="318031" y="298803"/>
                </a:cubicBezTo>
                <a:close/>
                <a:moveTo>
                  <a:pt x="348658" y="100073"/>
                </a:moveTo>
                <a:lnTo>
                  <a:pt x="348658" y="80701"/>
                </a:lnTo>
                <a:lnTo>
                  <a:pt x="306403" y="80701"/>
                </a:lnTo>
                <a:lnTo>
                  <a:pt x="306403" y="55880"/>
                </a:lnTo>
                <a:lnTo>
                  <a:pt x="251229" y="55880"/>
                </a:lnTo>
                <a:lnTo>
                  <a:pt x="251229" y="80701"/>
                </a:lnTo>
                <a:lnTo>
                  <a:pt x="105117" y="80701"/>
                </a:lnTo>
                <a:lnTo>
                  <a:pt x="105117" y="100073"/>
                </a:lnTo>
                <a:lnTo>
                  <a:pt x="111167" y="100073"/>
                </a:lnTo>
                <a:lnTo>
                  <a:pt x="112270" y="172805"/>
                </a:lnTo>
                <a:lnTo>
                  <a:pt x="104771" y="172805"/>
                </a:lnTo>
                <a:lnTo>
                  <a:pt x="104771" y="192240"/>
                </a:lnTo>
                <a:lnTo>
                  <a:pt x="112554" y="192240"/>
                </a:lnTo>
                <a:lnTo>
                  <a:pt x="113846" y="279367"/>
                </a:lnTo>
                <a:lnTo>
                  <a:pt x="104771" y="279367"/>
                </a:lnTo>
                <a:lnTo>
                  <a:pt x="104771" y="298803"/>
                </a:lnTo>
                <a:lnTo>
                  <a:pt x="114224" y="298803"/>
                </a:lnTo>
                <a:lnTo>
                  <a:pt x="115390" y="376511"/>
                </a:lnTo>
                <a:lnTo>
                  <a:pt x="104865" y="376511"/>
                </a:lnTo>
                <a:lnTo>
                  <a:pt x="104865" y="395915"/>
                </a:lnTo>
                <a:lnTo>
                  <a:pt x="348532" y="395915"/>
                </a:lnTo>
                <a:lnTo>
                  <a:pt x="348532" y="376511"/>
                </a:lnTo>
                <a:lnTo>
                  <a:pt x="341443" y="376511"/>
                </a:lnTo>
                <a:lnTo>
                  <a:pt x="341758" y="298803"/>
                </a:lnTo>
                <a:lnTo>
                  <a:pt x="348532" y="298803"/>
                </a:lnTo>
                <a:lnTo>
                  <a:pt x="348532" y="279367"/>
                </a:lnTo>
                <a:lnTo>
                  <a:pt x="341632" y="279367"/>
                </a:lnTo>
                <a:lnTo>
                  <a:pt x="342010" y="192240"/>
                </a:lnTo>
                <a:lnTo>
                  <a:pt x="348312" y="192240"/>
                </a:lnTo>
                <a:lnTo>
                  <a:pt x="348312" y="172805"/>
                </a:lnTo>
                <a:lnTo>
                  <a:pt x="342010" y="172805"/>
                </a:lnTo>
                <a:lnTo>
                  <a:pt x="342325" y="100073"/>
                </a:lnTo>
                <a:close/>
                <a:moveTo>
                  <a:pt x="298746" y="294771"/>
                </a:moveTo>
                <a:lnTo>
                  <a:pt x="163253" y="294771"/>
                </a:lnTo>
                <a:lnTo>
                  <a:pt x="231000" y="177436"/>
                </a:ln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3" name="Group 2">
            <a:extLst>
              <a:ext uri="{FF2B5EF4-FFF2-40B4-BE49-F238E27FC236}">
                <a16:creationId xmlns:a16="http://schemas.microsoft.com/office/drawing/2014/main" id="{E7EE087B-A144-BEAB-5D3F-65809FD3933A}"/>
              </a:ext>
            </a:extLst>
          </p:cNvPr>
          <p:cNvGrpSpPr/>
          <p:nvPr/>
        </p:nvGrpSpPr>
        <p:grpSpPr>
          <a:xfrm>
            <a:off x="8844369" y="159786"/>
            <a:ext cx="2904719" cy="220267"/>
            <a:chOff x="8844369" y="159786"/>
            <a:chExt cx="2904719" cy="220267"/>
          </a:xfrm>
        </p:grpSpPr>
        <p:sp>
          <p:nvSpPr>
            <p:cNvPr id="5" name="Rectangle 4">
              <a:extLst>
                <a:ext uri="{FF2B5EF4-FFF2-40B4-BE49-F238E27FC236}">
                  <a16:creationId xmlns:a16="http://schemas.microsoft.com/office/drawing/2014/main" id="{EA644FC6-5962-CA42-266F-8870EC4DCC9B}"/>
                </a:ext>
              </a:extLst>
            </p:cNvPr>
            <p:cNvSpPr/>
            <p:nvPr/>
          </p:nvSpPr>
          <p:spPr>
            <a:xfrm>
              <a:off x="9327597" y="159786"/>
              <a:ext cx="2179876"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Anthropogenic disasters</a:t>
              </a:r>
              <a:endParaRPr kumimoji="0" lang="en-US" sz="800" b="1" i="0" u="none" strike="noStrike" kern="0" cap="none" spc="0" normalizeH="0" baseline="0" dirty="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4FAE8A9F-B6BE-AB27-B714-30CB557ABDCF}"/>
                </a:ext>
              </a:extLst>
            </p:cNvPr>
            <p:cNvSpPr/>
            <p:nvPr/>
          </p:nvSpPr>
          <p:spPr>
            <a:xfrm>
              <a:off x="9085983"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AD6A4163-62AE-C898-71E6-E48AD668E653}"/>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6195425A-5889-C383-5687-9034D565F0D7}"/>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698524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a:extLst>
              <a:ext uri="{FF2B5EF4-FFF2-40B4-BE49-F238E27FC236}">
                <a16:creationId xmlns:a16="http://schemas.microsoft.com/office/drawing/2014/main" id="{14BD0C39-0D32-1338-8EBC-F334088BEFD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75387" y="3736687"/>
            <a:ext cx="5473699" cy="2446972"/>
          </a:xfrm>
          <a:prstGeom prst="rect">
            <a:avLst/>
          </a:prstGeom>
        </p:spPr>
      </p:pic>
      <p:sp>
        <p:nvSpPr>
          <p:cNvPr id="45" name="Rectangle 44">
            <a:extLst>
              <a:ext uri="{FF2B5EF4-FFF2-40B4-BE49-F238E27FC236}">
                <a16:creationId xmlns:a16="http://schemas.microsoft.com/office/drawing/2014/main" id="{1110B235-F955-EA3B-FC0E-F99459354174}"/>
              </a:ext>
            </a:extLst>
          </p:cNvPr>
          <p:cNvSpPr/>
          <p:nvPr/>
        </p:nvSpPr>
        <p:spPr>
          <a:xfrm>
            <a:off x="6275388" y="1819275"/>
            <a:ext cx="4825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solidFill>
                  <a:schemeClr val="bg1"/>
                </a:solidFill>
              </a:rPr>
              <a:t>What if there is a spill of hazardous chemicals or a radiation accident while driving?</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On-site release of hazardous chemicals</a:t>
            </a:r>
            <a:br>
              <a:rPr lang="lv-LV"/>
            </a:br>
            <a:r>
              <a:rPr lang="en-gb">
                <a:solidFill>
                  <a:srgbClr val="A8192D"/>
                </a:solidFill>
              </a:rPr>
              <a:t>How to proceed? (2/2)</a:t>
            </a:r>
            <a:endParaRPr lang="en-GB"/>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3</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5031912"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solidFill>
                  <a:schemeClr val="bg1"/>
                </a:solidFill>
              </a:rPr>
              <a:t>What if there is a release of hazardous chemicals or a radiation accident and you are in a building?</a:t>
            </a:r>
          </a:p>
        </p:txBody>
      </p:sp>
      <p:sp>
        <p:nvSpPr>
          <p:cNvPr id="10" name="Rectangle 9">
            <a:extLst>
              <a:ext uri="{FF2B5EF4-FFF2-40B4-BE49-F238E27FC236}">
                <a16:creationId xmlns:a16="http://schemas.microsoft.com/office/drawing/2014/main" id="{09A66239-710D-C797-94B6-F20E65399ECA}"/>
              </a:ext>
            </a:extLst>
          </p:cNvPr>
          <p:cNvSpPr/>
          <p:nvPr/>
        </p:nvSpPr>
        <p:spPr>
          <a:xfrm>
            <a:off x="1107652" y="2538660"/>
            <a:ext cx="498834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Stay in the building.</a:t>
            </a:r>
          </a:p>
        </p:txBody>
      </p:sp>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7653" y="3037446"/>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5519999"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5449111"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7653" y="3669901"/>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7653" y="453123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7653" y="510048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2" y="3104436"/>
            <a:ext cx="4987909"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Close external doors, internal doors, windows and all possible openings to prevent outside air from entering.</a:t>
            </a:r>
          </a:p>
        </p:txBody>
      </p:sp>
      <p:sp>
        <p:nvSpPr>
          <p:cNvPr id="25" name="Rectangle 24">
            <a:extLst>
              <a:ext uri="{FF2B5EF4-FFF2-40B4-BE49-F238E27FC236}">
                <a16:creationId xmlns:a16="http://schemas.microsoft.com/office/drawing/2014/main" id="{65252F37-AAFD-36B4-8412-49AED4BC1668}"/>
              </a:ext>
            </a:extLst>
          </p:cNvPr>
          <p:cNvSpPr/>
          <p:nvPr/>
        </p:nvSpPr>
        <p:spPr>
          <a:xfrm>
            <a:off x="442913" y="3104232"/>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2172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1" name="Rectangle 20">
            <a:extLst>
              <a:ext uri="{FF2B5EF4-FFF2-40B4-BE49-F238E27FC236}">
                <a16:creationId xmlns:a16="http://schemas.microsoft.com/office/drawing/2014/main" id="{8E7FE903-AF5E-C170-6243-035D5D1DF699}"/>
              </a:ext>
            </a:extLst>
          </p:cNvPr>
          <p:cNvSpPr/>
          <p:nvPr/>
        </p:nvSpPr>
        <p:spPr>
          <a:xfrm>
            <a:off x="1107652" y="3740365"/>
            <a:ext cx="4987909" cy="72408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Close or turn off ventilation, air conditioners, seal openings for extractor fans in kitchens, bathrooms and other rooms with adhesive tape, cling film or aluminium foil.</a:t>
            </a:r>
          </a:p>
        </p:txBody>
      </p:sp>
      <p:sp>
        <p:nvSpPr>
          <p:cNvPr id="27" name="Rectangle 26">
            <a:extLst>
              <a:ext uri="{FF2B5EF4-FFF2-40B4-BE49-F238E27FC236}">
                <a16:creationId xmlns:a16="http://schemas.microsoft.com/office/drawing/2014/main" id="{C3904226-BC52-7EEB-17E4-9D5BBA060485}"/>
              </a:ext>
            </a:extLst>
          </p:cNvPr>
          <p:cNvSpPr/>
          <p:nvPr/>
        </p:nvSpPr>
        <p:spPr>
          <a:xfrm>
            <a:off x="442913" y="3740823"/>
            <a:ext cx="576263" cy="72316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396601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2" name="Rectangle 21">
            <a:extLst>
              <a:ext uri="{FF2B5EF4-FFF2-40B4-BE49-F238E27FC236}">
                <a16:creationId xmlns:a16="http://schemas.microsoft.com/office/drawing/2014/main" id="{3175BAF5-8B83-02AB-BA0E-05A959B921B4}"/>
              </a:ext>
            </a:extLst>
          </p:cNvPr>
          <p:cNvSpPr/>
          <p:nvPr/>
        </p:nvSpPr>
        <p:spPr>
          <a:xfrm>
            <a:off x="1107652" y="460170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Seal the openings under the door with damp towels or plastic sheeting and adhesive tape.</a:t>
            </a:r>
          </a:p>
        </p:txBody>
      </p:sp>
      <p:sp>
        <p:nvSpPr>
          <p:cNvPr id="29" name="Rectangle 28">
            <a:extLst>
              <a:ext uri="{FF2B5EF4-FFF2-40B4-BE49-F238E27FC236}">
                <a16:creationId xmlns:a16="http://schemas.microsoft.com/office/drawing/2014/main" id="{513B3D2D-CE2B-998E-5C33-317F744DFD24}"/>
              </a:ext>
            </a:extLst>
          </p:cNvPr>
          <p:cNvSpPr/>
          <p:nvPr/>
        </p:nvSpPr>
        <p:spPr>
          <a:xfrm>
            <a:off x="442913" y="46017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6813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4" name="Rectangle 23">
            <a:extLst>
              <a:ext uri="{FF2B5EF4-FFF2-40B4-BE49-F238E27FC236}">
                <a16:creationId xmlns:a16="http://schemas.microsoft.com/office/drawing/2014/main" id="{0FFE8E1F-D4A6-4A00-83F0-7BA72605D4CF}"/>
              </a:ext>
            </a:extLst>
          </p:cNvPr>
          <p:cNvSpPr/>
          <p:nvPr/>
        </p:nvSpPr>
        <p:spPr>
          <a:xfrm>
            <a:off x="1107652" y="517095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Go to the room that is above ground level and has the fewest openings to the outside.</a:t>
            </a:r>
          </a:p>
        </p:txBody>
      </p:sp>
      <p:sp>
        <p:nvSpPr>
          <p:cNvPr id="31" name="Rectangle 30">
            <a:extLst>
              <a:ext uri="{FF2B5EF4-FFF2-40B4-BE49-F238E27FC236}">
                <a16:creationId xmlns:a16="http://schemas.microsoft.com/office/drawing/2014/main" id="{81AADF20-6B15-BD93-E6FB-FE22A6F5C8F1}"/>
              </a:ext>
            </a:extLst>
          </p:cNvPr>
          <p:cNvSpPr/>
          <p:nvPr/>
        </p:nvSpPr>
        <p:spPr>
          <a:xfrm>
            <a:off x="442913" y="517095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2505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 name="Rectangle 2">
            <a:extLst>
              <a:ext uri="{FF2B5EF4-FFF2-40B4-BE49-F238E27FC236}">
                <a16:creationId xmlns:a16="http://schemas.microsoft.com/office/drawing/2014/main" id="{9DFCB2BB-7533-8AA1-1812-6910810F684C}"/>
              </a:ext>
            </a:extLst>
          </p:cNvPr>
          <p:cNvSpPr/>
          <p:nvPr/>
        </p:nvSpPr>
        <p:spPr>
          <a:xfrm>
            <a:off x="1107652" y="5740200"/>
            <a:ext cx="4987909"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If gases or vapours enter the building, take shallow breaths through a towel or other cloth.</a:t>
            </a:r>
          </a:p>
        </p:txBody>
      </p:sp>
      <p:sp>
        <p:nvSpPr>
          <p:cNvPr id="5" name="Rectangle 4">
            <a:extLst>
              <a:ext uri="{FF2B5EF4-FFF2-40B4-BE49-F238E27FC236}">
                <a16:creationId xmlns:a16="http://schemas.microsoft.com/office/drawing/2014/main" id="{513E4803-37C1-64E1-5721-C207209A3CBF}"/>
              </a:ext>
            </a:extLst>
          </p:cNvPr>
          <p:cNvSpPr/>
          <p:nvPr/>
        </p:nvSpPr>
        <p:spPr>
          <a:xfrm>
            <a:off x="442913" y="57402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 name="L-Shape 5">
            <a:extLst>
              <a:ext uri="{FF2B5EF4-FFF2-40B4-BE49-F238E27FC236}">
                <a16:creationId xmlns:a16="http://schemas.microsoft.com/office/drawing/2014/main" id="{6E2FB499-7E29-92E2-F550-BFE50C2BCD34}"/>
              </a:ext>
            </a:extLst>
          </p:cNvPr>
          <p:cNvSpPr/>
          <p:nvPr/>
        </p:nvSpPr>
        <p:spPr>
          <a:xfrm rot="13500000">
            <a:off x="559307" y="5819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38" name="Straight Connector 37">
            <a:extLst>
              <a:ext uri="{FF2B5EF4-FFF2-40B4-BE49-F238E27FC236}">
                <a16:creationId xmlns:a16="http://schemas.microsoft.com/office/drawing/2014/main" id="{1F95807D-C34F-BA62-E99D-82ED27DD62C5}"/>
              </a:ext>
            </a:extLst>
          </p:cNvPr>
          <p:cNvCxnSpPr>
            <a:cxnSpLocks/>
          </p:cNvCxnSpPr>
          <p:nvPr/>
        </p:nvCxnSpPr>
        <p:spPr>
          <a:xfrm>
            <a:off x="1107653" y="5669736"/>
            <a:ext cx="4987909"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D697A073-4B67-4447-043A-F93B67624135}"/>
              </a:ext>
            </a:extLst>
          </p:cNvPr>
          <p:cNvSpPr/>
          <p:nvPr/>
        </p:nvSpPr>
        <p:spPr>
          <a:xfrm>
            <a:off x="6949430" y="2538660"/>
            <a:ext cx="4800077"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Stop and seek shelter in a building.</a:t>
            </a:r>
          </a:p>
        </p:txBody>
      </p:sp>
      <p:sp>
        <p:nvSpPr>
          <p:cNvPr id="48" name="Rectangle 47">
            <a:extLst>
              <a:ext uri="{FF2B5EF4-FFF2-40B4-BE49-F238E27FC236}">
                <a16:creationId xmlns:a16="http://schemas.microsoft.com/office/drawing/2014/main" id="{67C26A5B-990D-36CA-DC15-B81F58F484FA}"/>
              </a:ext>
            </a:extLst>
          </p:cNvPr>
          <p:cNvSpPr/>
          <p:nvPr/>
        </p:nvSpPr>
        <p:spPr>
          <a:xfrm>
            <a:off x="6284691"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9" name="L-Shape 48">
            <a:extLst>
              <a:ext uri="{FF2B5EF4-FFF2-40B4-BE49-F238E27FC236}">
                <a16:creationId xmlns:a16="http://schemas.microsoft.com/office/drawing/2014/main" id="{DC519A94-585B-76F0-4147-1A5C643A6083}"/>
              </a:ext>
            </a:extLst>
          </p:cNvPr>
          <p:cNvSpPr/>
          <p:nvPr/>
        </p:nvSpPr>
        <p:spPr>
          <a:xfrm rot="13500000">
            <a:off x="6401085"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6949431" y="3037446"/>
            <a:ext cx="480007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1D9B6445-7F02-AD29-9C1C-BE7ED24A094D}"/>
              </a:ext>
            </a:extLst>
          </p:cNvPr>
          <p:cNvSpPr/>
          <p:nvPr/>
        </p:nvSpPr>
        <p:spPr>
          <a:xfrm>
            <a:off x="11173088"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111022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4" name="Rectangle 53">
            <a:extLst>
              <a:ext uri="{FF2B5EF4-FFF2-40B4-BE49-F238E27FC236}">
                <a16:creationId xmlns:a16="http://schemas.microsoft.com/office/drawing/2014/main" id="{A1F71667-D7CD-73A1-7C5D-B210E14862AD}"/>
              </a:ext>
            </a:extLst>
          </p:cNvPr>
          <p:cNvSpPr/>
          <p:nvPr/>
        </p:nvSpPr>
        <p:spPr>
          <a:xfrm>
            <a:off x="6949431" y="3104436"/>
            <a:ext cx="4799656" cy="4984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spc="-20">
                <a:solidFill>
                  <a:srgbClr val="212529"/>
                </a:solidFill>
                <a:effectLst/>
              </a:rPr>
              <a:t>If you have to stay in the car, keep the windows closed and turn off the ventilation, air conditioning and heater.</a:t>
            </a:r>
          </a:p>
        </p:txBody>
      </p:sp>
      <p:sp>
        <p:nvSpPr>
          <p:cNvPr id="55" name="Rectangle 54">
            <a:extLst>
              <a:ext uri="{FF2B5EF4-FFF2-40B4-BE49-F238E27FC236}">
                <a16:creationId xmlns:a16="http://schemas.microsoft.com/office/drawing/2014/main" id="{66A2792C-2B71-6239-D665-C7703B3883CF}"/>
              </a:ext>
            </a:extLst>
          </p:cNvPr>
          <p:cNvSpPr/>
          <p:nvPr/>
        </p:nvSpPr>
        <p:spPr>
          <a:xfrm>
            <a:off x="6284691" y="3104232"/>
            <a:ext cx="576263" cy="49888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6" name="L-Shape 55">
            <a:extLst>
              <a:ext uri="{FF2B5EF4-FFF2-40B4-BE49-F238E27FC236}">
                <a16:creationId xmlns:a16="http://schemas.microsoft.com/office/drawing/2014/main" id="{FED96557-39A9-DE02-B310-DB56EBC3F516}"/>
              </a:ext>
            </a:extLst>
          </p:cNvPr>
          <p:cNvSpPr/>
          <p:nvPr/>
        </p:nvSpPr>
        <p:spPr>
          <a:xfrm rot="13500000">
            <a:off x="6401085" y="32172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84" name="Google Shape;1770;p93">
            <a:extLst>
              <a:ext uri="{FF2B5EF4-FFF2-40B4-BE49-F238E27FC236}">
                <a16:creationId xmlns:a16="http://schemas.microsoft.com/office/drawing/2014/main" id="{FFF4B9E7-0D73-4D04-B6EE-7C042B10DAEB}"/>
              </a:ext>
            </a:extLst>
          </p:cNvPr>
          <p:cNvGrpSpPr/>
          <p:nvPr/>
        </p:nvGrpSpPr>
        <p:grpSpPr>
          <a:xfrm>
            <a:off x="5663966" y="1963275"/>
            <a:ext cx="287998" cy="288000"/>
            <a:chOff x="7461366" y="2560815"/>
            <a:chExt cx="457200" cy="457200"/>
          </a:xfrm>
          <a:solidFill>
            <a:schemeClr val="bg1"/>
          </a:solidFill>
        </p:grpSpPr>
        <p:grpSp>
          <p:nvGrpSpPr>
            <p:cNvPr id="85" name="Google Shape;1771;p93">
              <a:extLst>
                <a:ext uri="{FF2B5EF4-FFF2-40B4-BE49-F238E27FC236}">
                  <a16:creationId xmlns:a16="http://schemas.microsoft.com/office/drawing/2014/main" id="{19D87289-DE85-54A6-120C-32102C7358D5}"/>
                </a:ext>
              </a:extLst>
            </p:cNvPr>
            <p:cNvGrpSpPr/>
            <p:nvPr/>
          </p:nvGrpSpPr>
          <p:grpSpPr>
            <a:xfrm>
              <a:off x="7461366" y="2560815"/>
              <a:ext cx="457200" cy="457200"/>
              <a:chOff x="7461366" y="2560815"/>
              <a:chExt cx="457200" cy="457200"/>
            </a:xfrm>
            <a:grpFill/>
          </p:grpSpPr>
          <p:sp>
            <p:nvSpPr>
              <p:cNvPr id="87" name="Google Shape;1772;p93">
                <a:extLst>
                  <a:ext uri="{FF2B5EF4-FFF2-40B4-BE49-F238E27FC236}">
                    <a16:creationId xmlns:a16="http://schemas.microsoft.com/office/drawing/2014/main" id="{70465341-44BC-C747-FB71-A5979664F034}"/>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8" name="Google Shape;1773;p93">
                <a:extLst>
                  <a:ext uri="{FF2B5EF4-FFF2-40B4-BE49-F238E27FC236}">
                    <a16:creationId xmlns:a16="http://schemas.microsoft.com/office/drawing/2014/main" id="{C098B08C-A5EB-E1DE-A35D-83EC23694E34}"/>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9" name="Google Shape;1774;p93">
                <a:extLst>
                  <a:ext uri="{FF2B5EF4-FFF2-40B4-BE49-F238E27FC236}">
                    <a16:creationId xmlns:a16="http://schemas.microsoft.com/office/drawing/2014/main" id="{5E892334-C55A-8B5F-6974-E2BFB0CE3441}"/>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0" name="Google Shape;1775;p93">
                <a:extLst>
                  <a:ext uri="{FF2B5EF4-FFF2-40B4-BE49-F238E27FC236}">
                    <a16:creationId xmlns:a16="http://schemas.microsoft.com/office/drawing/2014/main" id="{16E5E6F9-0E17-1E1E-09DA-5FDF1018EE61}"/>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86" name="Google Shape;1776;p93">
              <a:extLst>
                <a:ext uri="{FF2B5EF4-FFF2-40B4-BE49-F238E27FC236}">
                  <a16:creationId xmlns:a16="http://schemas.microsoft.com/office/drawing/2014/main" id="{F831F379-234F-C2C6-4523-89BC30299736}"/>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91" name="Google Shape;2220;p101">
            <a:extLst>
              <a:ext uri="{FF2B5EF4-FFF2-40B4-BE49-F238E27FC236}">
                <a16:creationId xmlns:a16="http://schemas.microsoft.com/office/drawing/2014/main" id="{B08A34BB-8B10-E973-7947-0F44D4A03BE7}"/>
              </a:ext>
            </a:extLst>
          </p:cNvPr>
          <p:cNvSpPr/>
          <p:nvPr/>
        </p:nvSpPr>
        <p:spPr>
          <a:xfrm>
            <a:off x="11317088" y="1963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23" name="Group 22">
            <a:extLst>
              <a:ext uri="{FF2B5EF4-FFF2-40B4-BE49-F238E27FC236}">
                <a16:creationId xmlns:a16="http://schemas.microsoft.com/office/drawing/2014/main" id="{0FC914B7-BC5A-60FD-5E21-E6319900D43B}"/>
              </a:ext>
            </a:extLst>
          </p:cNvPr>
          <p:cNvGrpSpPr/>
          <p:nvPr/>
        </p:nvGrpSpPr>
        <p:grpSpPr>
          <a:xfrm>
            <a:off x="8844369" y="159786"/>
            <a:ext cx="2904719" cy="220267"/>
            <a:chOff x="8844369" y="159786"/>
            <a:chExt cx="2904719" cy="220267"/>
          </a:xfrm>
        </p:grpSpPr>
        <p:sp>
          <p:nvSpPr>
            <p:cNvPr id="35" name="Rectangle 34">
              <a:extLst>
                <a:ext uri="{FF2B5EF4-FFF2-40B4-BE49-F238E27FC236}">
                  <a16:creationId xmlns:a16="http://schemas.microsoft.com/office/drawing/2014/main" id="{A9491CBB-3A5A-E509-F594-37C9C5787E5A}"/>
                </a:ext>
              </a:extLst>
            </p:cNvPr>
            <p:cNvSpPr/>
            <p:nvPr/>
          </p:nvSpPr>
          <p:spPr>
            <a:xfrm>
              <a:off x="9327597" y="159786"/>
              <a:ext cx="2179876"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Anthropogenic disasters</a:t>
              </a:r>
              <a:endParaRPr kumimoji="0" lang="en-US" sz="800" b="1" i="0" u="none" strike="noStrike" kern="0" cap="none" spc="0" normalizeH="0" baseline="0" dirty="0">
                <a:ln>
                  <a:noFill/>
                </a:ln>
                <a:effectLst/>
                <a:uLnTx/>
                <a:uFillTx/>
                <a:ea typeface="Georgia"/>
                <a:cs typeface="Georgia"/>
                <a:sym typeface="Georgia"/>
              </a:endParaRPr>
            </a:p>
          </p:txBody>
        </p:sp>
        <p:sp>
          <p:nvSpPr>
            <p:cNvPr id="36" name="Rectangle 35">
              <a:extLst>
                <a:ext uri="{FF2B5EF4-FFF2-40B4-BE49-F238E27FC236}">
                  <a16:creationId xmlns:a16="http://schemas.microsoft.com/office/drawing/2014/main" id="{8C610A09-C32D-56CF-E86D-3D23F2CCA24B}"/>
                </a:ext>
              </a:extLst>
            </p:cNvPr>
            <p:cNvSpPr/>
            <p:nvPr/>
          </p:nvSpPr>
          <p:spPr>
            <a:xfrm>
              <a:off x="9085983"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83DF2A76-403C-1848-DF8E-59182840BBCC}"/>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78D32F6D-8C07-1D23-2A63-D7025838861F}"/>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1300561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Residents are advised to stay indoors</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Restrictions on food use and farming are recommended</a:t>
            </a:r>
            <a:endParaRPr lang="es-ES" sz="1600" b="1"/>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660"/>
            <a:ext cx="4808960"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Close windows and doors, turn off the ventilation system, seal gaps.</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221142"/>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Radiation accidents</a:t>
            </a:r>
            <a:br>
              <a:rPr lang="lv-LV"/>
            </a:br>
            <a:r>
              <a:rPr lang="en-gb">
                <a:solidFill>
                  <a:srgbClr val="A8192D"/>
                </a:solidFill>
              </a:rPr>
              <a:t>How to proceed? (1/4)</a:t>
            </a:r>
            <a:endParaRPr lang="en-GB">
              <a:solidFill>
                <a:srgbClr val="A8192D"/>
              </a:solidFill>
            </a:endParaRP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414101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7653" y="5063344"/>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374692"/>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tx1"/>
                </a:solidFill>
              </a:rPr>
              <a:t>Keep up to date with</a:t>
            </a:r>
            <a:r>
              <a:rPr lang="en-gb" sz="1400" b="0" i="0">
                <a:solidFill>
                  <a:schemeClr val="tx1"/>
                </a:solidFill>
                <a:effectLst/>
              </a:rPr>
              <a:t> information from the relevant authorities on potential risks and protective measure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297019"/>
            <a:ext cx="4808538"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Personal hygiene - avoid hand to face contact, wash hands when entering rooms.</a:t>
            </a:r>
          </a:p>
        </p:txBody>
      </p:sp>
      <p:sp>
        <p:nvSpPr>
          <p:cNvPr id="42" name="Rectangle 41">
            <a:extLst>
              <a:ext uri="{FF2B5EF4-FFF2-40B4-BE49-F238E27FC236}">
                <a16:creationId xmlns:a16="http://schemas.microsoft.com/office/drawing/2014/main" id="{986F6EBD-76CF-AA8A-DC11-0900DE8A8EB0}"/>
              </a:ext>
            </a:extLst>
          </p:cNvPr>
          <p:cNvSpPr/>
          <p:nvPr/>
        </p:nvSpPr>
        <p:spPr>
          <a:xfrm>
            <a:off x="1107653" y="5219344"/>
            <a:ext cx="4808538" cy="95285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0" i="0">
                <a:solidFill>
                  <a:schemeClr val="tx1"/>
                </a:solidFill>
                <a:effectLst/>
              </a:rPr>
              <a:t>It is advisable to change shoes and clothing when entering indoor areas. Place the worn clothes in a polythene bag and keep out of the reach of people. The clothes can then be washed and reused.</a:t>
            </a: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6940550" y="3683670"/>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6940550" y="502413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4" name="Rectangle 63">
            <a:extLst>
              <a:ext uri="{FF2B5EF4-FFF2-40B4-BE49-F238E27FC236}">
                <a16:creationId xmlns:a16="http://schemas.microsoft.com/office/drawing/2014/main" id="{C8839363-023E-6108-2610-F9869562BA65}"/>
              </a:ext>
            </a:extLst>
          </p:cNvPr>
          <p:cNvSpPr/>
          <p:nvPr/>
        </p:nvSpPr>
        <p:spPr>
          <a:xfrm>
            <a:off x="6940550" y="2538413"/>
            <a:ext cx="4808538" cy="9525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Do not use products from open fields and forests and water from open water bodies (surface water bodies) and uncovered wells.</a:t>
            </a:r>
          </a:p>
        </p:txBody>
      </p:sp>
      <p:sp>
        <p:nvSpPr>
          <p:cNvPr id="65" name="Rectangle 64">
            <a:extLst>
              <a:ext uri="{FF2B5EF4-FFF2-40B4-BE49-F238E27FC236}">
                <a16:creationId xmlns:a16="http://schemas.microsoft.com/office/drawing/2014/main" id="{6C9963BA-CB30-1A9A-495C-AC7D92B42F6A}"/>
              </a:ext>
            </a:extLst>
          </p:cNvPr>
          <p:cNvSpPr/>
          <p:nvPr/>
        </p:nvSpPr>
        <p:spPr>
          <a:xfrm>
            <a:off x="6940550" y="3878879"/>
            <a:ext cx="4808538" cy="9525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dirty="0">
                <a:solidFill>
                  <a:srgbClr val="212529"/>
                </a:solidFill>
                <a:effectLst/>
              </a:rPr>
              <a:t>Use</a:t>
            </a:r>
            <a:r>
              <a:rPr lang="lv-LV" sz="1400" b="0" i="0" dirty="0">
                <a:solidFill>
                  <a:srgbClr val="212529"/>
                </a:solidFill>
                <a:effectLst/>
              </a:rPr>
              <a:t> </a:t>
            </a:r>
            <a:r>
              <a:rPr lang="lv-LV" sz="1400" b="0" i="0" dirty="0" err="1">
                <a:solidFill>
                  <a:srgbClr val="212529"/>
                </a:solidFill>
                <a:effectLst/>
              </a:rPr>
              <a:t>packaged</a:t>
            </a:r>
            <a:r>
              <a:rPr lang="en-gb" sz="1400" b="0" i="0" dirty="0">
                <a:solidFill>
                  <a:srgbClr val="212529"/>
                </a:solidFill>
                <a:effectLst/>
              </a:rPr>
              <a:t> food and water</a:t>
            </a:r>
            <a:r>
              <a:rPr lang="lv-LV" sz="1400" b="0" i="0" dirty="0">
                <a:solidFill>
                  <a:srgbClr val="212529"/>
                </a:solidFill>
                <a:effectLst/>
              </a:rPr>
              <a:t> </a:t>
            </a:r>
            <a:r>
              <a:rPr lang="lv-LV" sz="1400" b="0" i="0" dirty="0" err="1">
                <a:solidFill>
                  <a:srgbClr val="212529"/>
                </a:solidFill>
                <a:effectLst/>
              </a:rPr>
              <a:t>that</a:t>
            </a:r>
            <a:r>
              <a:rPr lang="lv-LV" sz="1400" b="0" i="0" dirty="0">
                <a:solidFill>
                  <a:srgbClr val="212529"/>
                </a:solidFill>
                <a:effectLst/>
              </a:rPr>
              <a:t> </a:t>
            </a:r>
            <a:r>
              <a:rPr lang="lv-LV" sz="1400" b="0" i="0" dirty="0" err="1">
                <a:solidFill>
                  <a:srgbClr val="212529"/>
                </a:solidFill>
                <a:effectLst/>
              </a:rPr>
              <a:t>is</a:t>
            </a:r>
            <a:r>
              <a:rPr lang="lv-LV" sz="1400" b="0" i="0" dirty="0">
                <a:solidFill>
                  <a:srgbClr val="212529"/>
                </a:solidFill>
                <a:effectLst/>
              </a:rPr>
              <a:t> </a:t>
            </a:r>
            <a:r>
              <a:rPr lang="lv-LV" sz="1400" b="0" i="0" dirty="0" err="1">
                <a:solidFill>
                  <a:srgbClr val="212529"/>
                </a:solidFill>
                <a:effectLst/>
              </a:rPr>
              <a:t>stored</a:t>
            </a:r>
            <a:r>
              <a:rPr lang="lv-LV" sz="1400" b="0" i="0" dirty="0">
                <a:solidFill>
                  <a:srgbClr val="212529"/>
                </a:solidFill>
                <a:effectLst/>
              </a:rPr>
              <a:t> </a:t>
            </a:r>
            <a:r>
              <a:rPr lang="lv-LV" sz="1400" b="0" i="0" dirty="0" err="1">
                <a:solidFill>
                  <a:srgbClr val="212529"/>
                </a:solidFill>
                <a:effectLst/>
              </a:rPr>
              <a:t>indoors</a:t>
            </a:r>
            <a:r>
              <a:rPr lang="en-gb" sz="1400" b="0" i="0" dirty="0">
                <a:solidFill>
                  <a:srgbClr val="212529"/>
                </a:solidFill>
                <a:effectLst/>
              </a:rPr>
              <a:t>.</a:t>
            </a:r>
          </a:p>
        </p:txBody>
      </p:sp>
      <p:sp>
        <p:nvSpPr>
          <p:cNvPr id="66" name="Rectangle 65">
            <a:extLst>
              <a:ext uri="{FF2B5EF4-FFF2-40B4-BE49-F238E27FC236}">
                <a16:creationId xmlns:a16="http://schemas.microsoft.com/office/drawing/2014/main" id="{F013B6EF-6664-55FA-8A95-9B25B931D676}"/>
              </a:ext>
            </a:extLst>
          </p:cNvPr>
          <p:cNvSpPr/>
          <p:nvPr/>
        </p:nvSpPr>
        <p:spPr>
          <a:xfrm>
            <a:off x="6940550" y="5219345"/>
            <a:ext cx="4808538" cy="952856"/>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dirty="0">
                <a:solidFill>
                  <a:srgbClr val="212529"/>
                </a:solidFill>
                <a:effectLst/>
              </a:rPr>
              <a:t>If possible, use animal feed that is stored in closed or semi-closed spaces or packaged. Do not use water from open water bodies or uncovered wells to </a:t>
            </a:r>
            <a:r>
              <a:rPr lang="lv-LV" sz="1400" b="0" i="0" dirty="0" err="1">
                <a:solidFill>
                  <a:srgbClr val="212529"/>
                </a:solidFill>
                <a:effectLst/>
              </a:rPr>
              <a:t>feed</a:t>
            </a:r>
            <a:r>
              <a:rPr lang="en-gb" sz="1400" b="0" i="0" dirty="0">
                <a:solidFill>
                  <a:srgbClr val="212529"/>
                </a:solidFill>
                <a:effectLst/>
              </a:rPr>
              <a:t> animals.</a:t>
            </a:r>
          </a:p>
        </p:txBody>
      </p: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2" name="Rectangle 71">
            <a:extLst>
              <a:ext uri="{FF2B5EF4-FFF2-40B4-BE49-F238E27FC236}">
                <a16:creationId xmlns:a16="http://schemas.microsoft.com/office/drawing/2014/main" id="{2543AFCA-7DBC-4F76-9DA2-D2643AE45BA9}"/>
              </a:ext>
            </a:extLst>
          </p:cNvPr>
          <p:cNvSpPr/>
          <p:nvPr/>
        </p:nvSpPr>
        <p:spPr>
          <a:xfrm>
            <a:off x="442913" y="3375467"/>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54507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29779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46740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442913" y="5219344"/>
            <a:ext cx="576263" cy="95285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55593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1" name="Rectangle 90">
            <a:extLst>
              <a:ext uri="{FF2B5EF4-FFF2-40B4-BE49-F238E27FC236}">
                <a16:creationId xmlns:a16="http://schemas.microsoft.com/office/drawing/2014/main" id="{923ED525-0203-6BC5-F3E8-8ABB7C0A1DD9}"/>
              </a:ext>
            </a:extLst>
          </p:cNvPr>
          <p:cNvSpPr/>
          <p:nvPr/>
        </p:nvSpPr>
        <p:spPr>
          <a:xfrm>
            <a:off x="6275388" y="2538413"/>
            <a:ext cx="576263" cy="9525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1782" y="287827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3" name="Rectangle 92">
            <a:extLst>
              <a:ext uri="{FF2B5EF4-FFF2-40B4-BE49-F238E27FC236}">
                <a16:creationId xmlns:a16="http://schemas.microsoft.com/office/drawing/2014/main" id="{D0E0A4D4-73EA-CBEB-4379-F0B1FF036634}"/>
              </a:ext>
            </a:extLst>
          </p:cNvPr>
          <p:cNvSpPr/>
          <p:nvPr/>
        </p:nvSpPr>
        <p:spPr>
          <a:xfrm>
            <a:off x="6275388" y="3878879"/>
            <a:ext cx="576263" cy="9525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6391782" y="4218741"/>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5" name="Rectangle 94">
            <a:extLst>
              <a:ext uri="{FF2B5EF4-FFF2-40B4-BE49-F238E27FC236}">
                <a16:creationId xmlns:a16="http://schemas.microsoft.com/office/drawing/2014/main" id="{443FAA3C-0F7C-AD6B-CBF1-68825DEE28EF}"/>
              </a:ext>
            </a:extLst>
          </p:cNvPr>
          <p:cNvSpPr/>
          <p:nvPr/>
        </p:nvSpPr>
        <p:spPr>
          <a:xfrm>
            <a:off x="6275388" y="5219345"/>
            <a:ext cx="576263" cy="95285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5559385"/>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4</a:t>
            </a:fld>
            <a:endParaRPr lang="en-GB"/>
          </a:p>
        </p:txBody>
      </p:sp>
      <p:sp>
        <p:nvSpPr>
          <p:cNvPr id="9" name="TextBox 8">
            <a:extLst>
              <a:ext uri="{FF2B5EF4-FFF2-40B4-BE49-F238E27FC236}">
                <a16:creationId xmlns:a16="http://schemas.microsoft.com/office/drawing/2014/main" id="{A60B2152-534E-51B4-687F-152F4DFE85AF}"/>
              </a:ext>
            </a:extLst>
          </p:cNvPr>
          <p:cNvSpPr txBox="1"/>
          <p:nvPr/>
        </p:nvSpPr>
        <p:spPr>
          <a:xfrm>
            <a:off x="406336" y="1468020"/>
            <a:ext cx="12042378" cy="338554"/>
          </a:xfrm>
          <a:prstGeom prst="rect">
            <a:avLst/>
          </a:prstGeom>
          <a:noFill/>
        </p:spPr>
        <p:txBody>
          <a:bodyPr wrap="square" rtlCol="0">
            <a:spAutoFit/>
          </a:bodyPr>
          <a:lstStyle/>
          <a:p>
            <a:pPr rtl="0"/>
            <a:r>
              <a:rPr lang="en-gb" sz="1600" b="1">
                <a:solidFill>
                  <a:srgbClr val="A8192D"/>
                </a:solidFill>
              </a:rPr>
              <a:t>What should be done in the event of a release of radioactive substances outside Latvia?</a:t>
            </a:r>
          </a:p>
        </p:txBody>
      </p:sp>
      <p:sp>
        <p:nvSpPr>
          <p:cNvPr id="11" name="Freeform 21">
            <a:extLst>
              <a:ext uri="{FF2B5EF4-FFF2-40B4-BE49-F238E27FC236}">
                <a16:creationId xmlns:a16="http://schemas.microsoft.com/office/drawing/2014/main" id="{16ADE182-810C-6913-ED1F-D813F9BEAF24}"/>
              </a:ext>
            </a:extLst>
          </p:cNvPr>
          <p:cNvSpPr>
            <a:spLocks noChangeAspect="1" noEditPoints="1"/>
          </p:cNvSpPr>
          <p:nvPr/>
        </p:nvSpPr>
        <p:spPr bwMode="auto">
          <a:xfrm>
            <a:off x="5449009" y="1928478"/>
            <a:ext cx="358980" cy="360000"/>
          </a:xfrm>
          <a:custGeom>
            <a:avLst/>
            <a:gdLst>
              <a:gd name="T0" fmla="*/ 0 w 704"/>
              <a:gd name="T1" fmla="*/ 0 h 706"/>
              <a:gd name="T2" fmla="*/ 0 w 704"/>
              <a:gd name="T3" fmla="*/ 706 h 706"/>
              <a:gd name="T4" fmla="*/ 704 w 704"/>
              <a:gd name="T5" fmla="*/ 706 h 706"/>
              <a:gd name="T6" fmla="*/ 704 w 704"/>
              <a:gd name="T7" fmla="*/ 0 h 706"/>
              <a:gd name="T8" fmla="*/ 0 w 704"/>
              <a:gd name="T9" fmla="*/ 0 h 706"/>
              <a:gd name="T10" fmla="*/ 673 w 704"/>
              <a:gd name="T11" fmla="*/ 676 h 706"/>
              <a:gd name="T12" fmla="*/ 31 w 704"/>
              <a:gd name="T13" fmla="*/ 676 h 706"/>
              <a:gd name="T14" fmla="*/ 31 w 704"/>
              <a:gd name="T15" fmla="*/ 31 h 706"/>
              <a:gd name="T16" fmla="*/ 673 w 704"/>
              <a:gd name="T17" fmla="*/ 31 h 706"/>
              <a:gd name="T18" fmla="*/ 673 w 704"/>
              <a:gd name="T19" fmla="*/ 676 h 706"/>
              <a:gd name="T20" fmla="*/ 136 w 704"/>
              <a:gd name="T21" fmla="*/ 619 h 706"/>
              <a:gd name="T22" fmla="*/ 280 w 704"/>
              <a:gd name="T23" fmla="*/ 619 h 706"/>
              <a:gd name="T24" fmla="*/ 424 w 704"/>
              <a:gd name="T25" fmla="*/ 619 h 706"/>
              <a:gd name="T26" fmla="*/ 568 w 704"/>
              <a:gd name="T27" fmla="*/ 619 h 706"/>
              <a:gd name="T28" fmla="*/ 568 w 704"/>
              <a:gd name="T29" fmla="*/ 377 h 706"/>
              <a:gd name="T30" fmla="*/ 645 w 704"/>
              <a:gd name="T31" fmla="*/ 377 h 706"/>
              <a:gd name="T32" fmla="*/ 354 w 704"/>
              <a:gd name="T33" fmla="*/ 82 h 706"/>
              <a:gd name="T34" fmla="*/ 57 w 704"/>
              <a:gd name="T35" fmla="*/ 377 h 706"/>
              <a:gd name="T36" fmla="*/ 136 w 704"/>
              <a:gd name="T37" fmla="*/ 377 h 706"/>
              <a:gd name="T38" fmla="*/ 136 w 704"/>
              <a:gd name="T39" fmla="*/ 619 h 706"/>
              <a:gd name="T40" fmla="*/ 310 w 704"/>
              <a:gd name="T41" fmla="*/ 588 h 706"/>
              <a:gd name="T42" fmla="*/ 310 w 704"/>
              <a:gd name="T43" fmla="*/ 469 h 706"/>
              <a:gd name="T44" fmla="*/ 394 w 704"/>
              <a:gd name="T45" fmla="*/ 469 h 706"/>
              <a:gd name="T46" fmla="*/ 394 w 704"/>
              <a:gd name="T47" fmla="*/ 588 h 706"/>
              <a:gd name="T48" fmla="*/ 310 w 704"/>
              <a:gd name="T49" fmla="*/ 588 h 706"/>
              <a:gd name="T50" fmla="*/ 131 w 704"/>
              <a:gd name="T51" fmla="*/ 348 h 706"/>
              <a:gd name="T52" fmla="*/ 354 w 704"/>
              <a:gd name="T53" fmla="*/ 125 h 706"/>
              <a:gd name="T54" fmla="*/ 574 w 704"/>
              <a:gd name="T55" fmla="*/ 348 h 706"/>
              <a:gd name="T56" fmla="*/ 538 w 704"/>
              <a:gd name="T57" fmla="*/ 348 h 706"/>
              <a:gd name="T58" fmla="*/ 538 w 704"/>
              <a:gd name="T59" fmla="*/ 588 h 706"/>
              <a:gd name="T60" fmla="*/ 424 w 704"/>
              <a:gd name="T61" fmla="*/ 588 h 706"/>
              <a:gd name="T62" fmla="*/ 424 w 704"/>
              <a:gd name="T63" fmla="*/ 439 h 706"/>
              <a:gd name="T64" fmla="*/ 280 w 704"/>
              <a:gd name="T65" fmla="*/ 439 h 706"/>
              <a:gd name="T66" fmla="*/ 280 w 704"/>
              <a:gd name="T67" fmla="*/ 588 h 706"/>
              <a:gd name="T68" fmla="*/ 166 w 704"/>
              <a:gd name="T69" fmla="*/ 588 h 706"/>
              <a:gd name="T70" fmla="*/ 166 w 704"/>
              <a:gd name="T71" fmla="*/ 348 h 706"/>
              <a:gd name="T72" fmla="*/ 131 w 704"/>
              <a:gd name="T73" fmla="*/ 34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4" h="706">
                <a:moveTo>
                  <a:pt x="0" y="0"/>
                </a:moveTo>
                <a:lnTo>
                  <a:pt x="0" y="706"/>
                </a:lnTo>
                <a:lnTo>
                  <a:pt x="704" y="706"/>
                </a:lnTo>
                <a:lnTo>
                  <a:pt x="704" y="0"/>
                </a:lnTo>
                <a:lnTo>
                  <a:pt x="0" y="0"/>
                </a:lnTo>
                <a:close/>
                <a:moveTo>
                  <a:pt x="673" y="676"/>
                </a:moveTo>
                <a:lnTo>
                  <a:pt x="31" y="676"/>
                </a:lnTo>
                <a:lnTo>
                  <a:pt x="31" y="31"/>
                </a:lnTo>
                <a:lnTo>
                  <a:pt x="673" y="31"/>
                </a:lnTo>
                <a:lnTo>
                  <a:pt x="673" y="676"/>
                </a:lnTo>
                <a:close/>
                <a:moveTo>
                  <a:pt x="136" y="619"/>
                </a:moveTo>
                <a:lnTo>
                  <a:pt x="280" y="619"/>
                </a:lnTo>
                <a:lnTo>
                  <a:pt x="424" y="619"/>
                </a:lnTo>
                <a:lnTo>
                  <a:pt x="568" y="619"/>
                </a:lnTo>
                <a:lnTo>
                  <a:pt x="568" y="377"/>
                </a:lnTo>
                <a:lnTo>
                  <a:pt x="645" y="377"/>
                </a:lnTo>
                <a:lnTo>
                  <a:pt x="354" y="82"/>
                </a:lnTo>
                <a:lnTo>
                  <a:pt x="57" y="377"/>
                </a:lnTo>
                <a:lnTo>
                  <a:pt x="136" y="377"/>
                </a:lnTo>
                <a:lnTo>
                  <a:pt x="136" y="619"/>
                </a:lnTo>
                <a:close/>
                <a:moveTo>
                  <a:pt x="310" y="588"/>
                </a:moveTo>
                <a:lnTo>
                  <a:pt x="310" y="469"/>
                </a:lnTo>
                <a:lnTo>
                  <a:pt x="394" y="469"/>
                </a:lnTo>
                <a:lnTo>
                  <a:pt x="394" y="588"/>
                </a:lnTo>
                <a:lnTo>
                  <a:pt x="310" y="588"/>
                </a:lnTo>
                <a:close/>
                <a:moveTo>
                  <a:pt x="131" y="348"/>
                </a:moveTo>
                <a:lnTo>
                  <a:pt x="354" y="125"/>
                </a:lnTo>
                <a:lnTo>
                  <a:pt x="574" y="348"/>
                </a:lnTo>
                <a:lnTo>
                  <a:pt x="538" y="348"/>
                </a:lnTo>
                <a:lnTo>
                  <a:pt x="538" y="588"/>
                </a:lnTo>
                <a:lnTo>
                  <a:pt x="424" y="588"/>
                </a:lnTo>
                <a:lnTo>
                  <a:pt x="424" y="439"/>
                </a:lnTo>
                <a:lnTo>
                  <a:pt x="280" y="439"/>
                </a:lnTo>
                <a:lnTo>
                  <a:pt x="280" y="588"/>
                </a:lnTo>
                <a:lnTo>
                  <a:pt x="166" y="588"/>
                </a:lnTo>
                <a:lnTo>
                  <a:pt x="166" y="348"/>
                </a:lnTo>
                <a:lnTo>
                  <a:pt x="131" y="34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ja-JP" altLang="en-US" sz="700" b="1">
              <a:solidFill>
                <a:schemeClr val="accent1"/>
              </a:solidFill>
            </a:endParaRPr>
          </a:p>
        </p:txBody>
      </p:sp>
      <p:sp>
        <p:nvSpPr>
          <p:cNvPr id="23" name="Freeform 132">
            <a:extLst>
              <a:ext uri="{FF2B5EF4-FFF2-40B4-BE49-F238E27FC236}">
                <a16:creationId xmlns:a16="http://schemas.microsoft.com/office/drawing/2014/main" id="{1BC76650-7F9E-8ADC-C19F-C01209498B65}"/>
              </a:ext>
            </a:extLst>
          </p:cNvPr>
          <p:cNvSpPr>
            <a:spLocks noChangeAspect="1" noEditPoints="1"/>
          </p:cNvSpPr>
          <p:nvPr/>
        </p:nvSpPr>
        <p:spPr bwMode="auto">
          <a:xfrm>
            <a:off x="11282154" y="1909900"/>
            <a:ext cx="358980" cy="360000"/>
          </a:xfrm>
          <a:custGeom>
            <a:avLst/>
            <a:gdLst>
              <a:gd name="T0" fmla="*/ 0 w 576"/>
              <a:gd name="T1" fmla="*/ 576 h 576"/>
              <a:gd name="T2" fmla="*/ 576 w 576"/>
              <a:gd name="T3" fmla="*/ 0 h 576"/>
              <a:gd name="T4" fmla="*/ 551 w 576"/>
              <a:gd name="T5" fmla="*/ 551 h 576"/>
              <a:gd name="T6" fmla="*/ 25 w 576"/>
              <a:gd name="T7" fmla="*/ 25 h 576"/>
              <a:gd name="T8" fmla="*/ 551 w 576"/>
              <a:gd name="T9" fmla="*/ 551 h 576"/>
              <a:gd name="T10" fmla="*/ 428 w 576"/>
              <a:gd name="T11" fmla="*/ 120 h 576"/>
              <a:gd name="T12" fmla="*/ 395 w 576"/>
              <a:gd name="T13" fmla="*/ 278 h 576"/>
              <a:gd name="T14" fmla="*/ 461 w 576"/>
              <a:gd name="T15" fmla="*/ 501 h 576"/>
              <a:gd name="T16" fmla="*/ 484 w 576"/>
              <a:gd name="T17" fmla="*/ 213 h 576"/>
              <a:gd name="T18" fmla="*/ 460 w 576"/>
              <a:gd name="T19" fmla="*/ 213 h 576"/>
              <a:gd name="T20" fmla="*/ 396 w 576"/>
              <a:gd name="T21" fmla="*/ 213 h 576"/>
              <a:gd name="T22" fmla="*/ 436 w 576"/>
              <a:gd name="T23" fmla="*/ 477 h 576"/>
              <a:gd name="T24" fmla="*/ 419 w 576"/>
              <a:gd name="T25" fmla="*/ 290 h 576"/>
              <a:gd name="T26" fmla="*/ 436 w 576"/>
              <a:gd name="T27" fmla="*/ 290 h 576"/>
              <a:gd name="T28" fmla="*/ 321 w 576"/>
              <a:gd name="T29" fmla="*/ 68 h 576"/>
              <a:gd name="T30" fmla="*/ 249 w 576"/>
              <a:gd name="T31" fmla="*/ 292 h 576"/>
              <a:gd name="T32" fmla="*/ 267 w 576"/>
              <a:gd name="T33" fmla="*/ 304 h 576"/>
              <a:gd name="T34" fmla="*/ 333 w 576"/>
              <a:gd name="T35" fmla="*/ 501 h 576"/>
              <a:gd name="T36" fmla="*/ 333 w 576"/>
              <a:gd name="T37" fmla="*/ 209 h 576"/>
              <a:gd name="T38" fmla="*/ 321 w 576"/>
              <a:gd name="T39" fmla="*/ 68 h 576"/>
              <a:gd name="T40" fmla="*/ 308 w 576"/>
              <a:gd name="T41" fmla="*/ 94 h 576"/>
              <a:gd name="T42" fmla="*/ 274 w 576"/>
              <a:gd name="T43" fmla="*/ 279 h 576"/>
              <a:gd name="T44" fmla="*/ 308 w 576"/>
              <a:gd name="T45" fmla="*/ 477 h 576"/>
              <a:gd name="T46" fmla="*/ 291 w 576"/>
              <a:gd name="T47" fmla="*/ 304 h 576"/>
              <a:gd name="T48" fmla="*/ 308 w 576"/>
              <a:gd name="T49" fmla="*/ 477 h 576"/>
              <a:gd name="T50" fmla="*/ 93 w 576"/>
              <a:gd name="T51" fmla="*/ 221 h 576"/>
              <a:gd name="T52" fmla="*/ 121 w 576"/>
              <a:gd name="T53" fmla="*/ 501 h 576"/>
              <a:gd name="T54" fmla="*/ 187 w 576"/>
              <a:gd name="T55" fmla="*/ 295 h 576"/>
              <a:gd name="T56" fmla="*/ 215 w 576"/>
              <a:gd name="T57" fmla="*/ 120 h 576"/>
              <a:gd name="T58" fmla="*/ 162 w 576"/>
              <a:gd name="T59" fmla="*/ 477 h 576"/>
              <a:gd name="T60" fmla="*/ 145 w 576"/>
              <a:gd name="T61" fmla="*/ 305 h 576"/>
              <a:gd name="T62" fmla="*/ 162 w 576"/>
              <a:gd name="T63" fmla="*/ 305 h 576"/>
              <a:gd name="T64" fmla="*/ 191 w 576"/>
              <a:gd name="T65" fmla="*/ 221 h 576"/>
              <a:gd name="T66" fmla="*/ 117 w 576"/>
              <a:gd name="T67" fmla="*/ 221 h 576"/>
              <a:gd name="T68" fmla="*/ 131 w 576"/>
              <a:gd name="T69" fmla="*/ 144 h 576"/>
              <a:gd name="T70" fmla="*/ 147 w 576"/>
              <a:gd name="T71" fmla="*/ 209 h 576"/>
              <a:gd name="T72" fmla="*/ 160 w 576"/>
              <a:gd name="T73" fmla="*/ 144 h 576"/>
              <a:gd name="T74" fmla="*/ 176 w 576"/>
              <a:gd name="T75" fmla="*/ 209 h 576"/>
              <a:gd name="T76" fmla="*/ 191 w 576"/>
              <a:gd name="T77" fmla="*/ 14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484" y="213"/>
                </a:moveTo>
                <a:cubicBezTo>
                  <a:pt x="484" y="160"/>
                  <a:pt x="460" y="120"/>
                  <a:pt x="428" y="120"/>
                </a:cubicBezTo>
                <a:cubicBezTo>
                  <a:pt x="396" y="120"/>
                  <a:pt x="371" y="160"/>
                  <a:pt x="371" y="213"/>
                </a:cubicBezTo>
                <a:cubicBezTo>
                  <a:pt x="371" y="237"/>
                  <a:pt x="378" y="263"/>
                  <a:pt x="395" y="278"/>
                </a:cubicBezTo>
                <a:cubicBezTo>
                  <a:pt x="395" y="501"/>
                  <a:pt x="395" y="501"/>
                  <a:pt x="395" y="501"/>
                </a:cubicBezTo>
                <a:cubicBezTo>
                  <a:pt x="461" y="501"/>
                  <a:pt x="461" y="501"/>
                  <a:pt x="461" y="501"/>
                </a:cubicBezTo>
                <a:cubicBezTo>
                  <a:pt x="461" y="278"/>
                  <a:pt x="461" y="278"/>
                  <a:pt x="461" y="278"/>
                </a:cubicBezTo>
                <a:cubicBezTo>
                  <a:pt x="478" y="263"/>
                  <a:pt x="484" y="237"/>
                  <a:pt x="484" y="213"/>
                </a:cubicBezTo>
                <a:close/>
                <a:moveTo>
                  <a:pt x="428" y="144"/>
                </a:moveTo>
                <a:cubicBezTo>
                  <a:pt x="443" y="144"/>
                  <a:pt x="460" y="173"/>
                  <a:pt x="460" y="213"/>
                </a:cubicBezTo>
                <a:cubicBezTo>
                  <a:pt x="460" y="246"/>
                  <a:pt x="448" y="266"/>
                  <a:pt x="428" y="266"/>
                </a:cubicBezTo>
                <a:cubicBezTo>
                  <a:pt x="408" y="266"/>
                  <a:pt x="396" y="246"/>
                  <a:pt x="396" y="213"/>
                </a:cubicBezTo>
                <a:cubicBezTo>
                  <a:pt x="396" y="173"/>
                  <a:pt x="413" y="144"/>
                  <a:pt x="428" y="144"/>
                </a:cubicBezTo>
                <a:close/>
                <a:moveTo>
                  <a:pt x="436" y="477"/>
                </a:moveTo>
                <a:cubicBezTo>
                  <a:pt x="419" y="477"/>
                  <a:pt x="419" y="477"/>
                  <a:pt x="419" y="477"/>
                </a:cubicBezTo>
                <a:cubicBezTo>
                  <a:pt x="419" y="290"/>
                  <a:pt x="419" y="290"/>
                  <a:pt x="419" y="290"/>
                </a:cubicBezTo>
                <a:cubicBezTo>
                  <a:pt x="422" y="290"/>
                  <a:pt x="425" y="290"/>
                  <a:pt x="428" y="290"/>
                </a:cubicBezTo>
                <a:cubicBezTo>
                  <a:pt x="431" y="290"/>
                  <a:pt x="434" y="290"/>
                  <a:pt x="436" y="290"/>
                </a:cubicBezTo>
                <a:lnTo>
                  <a:pt x="436" y="477"/>
                </a:lnTo>
                <a:close/>
                <a:moveTo>
                  <a:pt x="321" y="68"/>
                </a:moveTo>
                <a:cubicBezTo>
                  <a:pt x="282" y="68"/>
                  <a:pt x="250" y="105"/>
                  <a:pt x="250" y="149"/>
                </a:cubicBezTo>
                <a:cubicBezTo>
                  <a:pt x="250" y="188"/>
                  <a:pt x="249" y="291"/>
                  <a:pt x="249" y="292"/>
                </a:cubicBezTo>
                <a:cubicBezTo>
                  <a:pt x="249" y="304"/>
                  <a:pt x="249" y="304"/>
                  <a:pt x="249" y="304"/>
                </a:cubicBezTo>
                <a:cubicBezTo>
                  <a:pt x="267" y="304"/>
                  <a:pt x="267" y="304"/>
                  <a:pt x="267" y="304"/>
                </a:cubicBezTo>
                <a:cubicBezTo>
                  <a:pt x="267" y="501"/>
                  <a:pt x="267" y="501"/>
                  <a:pt x="267" y="501"/>
                </a:cubicBezTo>
                <a:cubicBezTo>
                  <a:pt x="333" y="501"/>
                  <a:pt x="333" y="501"/>
                  <a:pt x="333" y="501"/>
                </a:cubicBezTo>
                <a:cubicBezTo>
                  <a:pt x="333" y="303"/>
                  <a:pt x="333" y="303"/>
                  <a:pt x="333" y="303"/>
                </a:cubicBezTo>
                <a:cubicBezTo>
                  <a:pt x="333" y="209"/>
                  <a:pt x="333" y="209"/>
                  <a:pt x="333" y="209"/>
                </a:cubicBezTo>
                <a:cubicBezTo>
                  <a:pt x="333" y="68"/>
                  <a:pt x="333" y="68"/>
                  <a:pt x="333" y="68"/>
                </a:cubicBezTo>
                <a:lnTo>
                  <a:pt x="321" y="68"/>
                </a:lnTo>
                <a:close/>
                <a:moveTo>
                  <a:pt x="274" y="149"/>
                </a:moveTo>
                <a:cubicBezTo>
                  <a:pt x="274" y="124"/>
                  <a:pt x="289" y="101"/>
                  <a:pt x="308" y="94"/>
                </a:cubicBezTo>
                <a:cubicBezTo>
                  <a:pt x="308" y="279"/>
                  <a:pt x="308" y="279"/>
                  <a:pt x="308" y="279"/>
                </a:cubicBezTo>
                <a:cubicBezTo>
                  <a:pt x="274" y="279"/>
                  <a:pt x="274" y="279"/>
                  <a:pt x="274" y="279"/>
                </a:cubicBezTo>
                <a:cubicBezTo>
                  <a:pt x="274" y="250"/>
                  <a:pt x="274" y="180"/>
                  <a:pt x="274" y="149"/>
                </a:cubicBezTo>
                <a:close/>
                <a:moveTo>
                  <a:pt x="308" y="477"/>
                </a:moveTo>
                <a:cubicBezTo>
                  <a:pt x="291" y="477"/>
                  <a:pt x="291" y="477"/>
                  <a:pt x="291" y="477"/>
                </a:cubicBezTo>
                <a:cubicBezTo>
                  <a:pt x="291" y="304"/>
                  <a:pt x="291" y="304"/>
                  <a:pt x="291" y="304"/>
                </a:cubicBezTo>
                <a:cubicBezTo>
                  <a:pt x="308" y="303"/>
                  <a:pt x="308" y="303"/>
                  <a:pt x="308" y="303"/>
                </a:cubicBezTo>
                <a:lnTo>
                  <a:pt x="308" y="477"/>
                </a:lnTo>
                <a:close/>
                <a:moveTo>
                  <a:pt x="93" y="120"/>
                </a:moveTo>
                <a:cubicBezTo>
                  <a:pt x="93" y="221"/>
                  <a:pt x="93" y="221"/>
                  <a:pt x="93" y="221"/>
                </a:cubicBezTo>
                <a:cubicBezTo>
                  <a:pt x="93" y="249"/>
                  <a:pt x="100" y="279"/>
                  <a:pt x="121" y="295"/>
                </a:cubicBezTo>
                <a:cubicBezTo>
                  <a:pt x="121" y="501"/>
                  <a:pt x="121" y="501"/>
                  <a:pt x="121" y="501"/>
                </a:cubicBezTo>
                <a:cubicBezTo>
                  <a:pt x="187" y="501"/>
                  <a:pt x="187" y="501"/>
                  <a:pt x="187" y="501"/>
                </a:cubicBezTo>
                <a:cubicBezTo>
                  <a:pt x="187" y="295"/>
                  <a:pt x="187" y="295"/>
                  <a:pt x="187" y="295"/>
                </a:cubicBezTo>
                <a:cubicBezTo>
                  <a:pt x="207" y="279"/>
                  <a:pt x="215" y="249"/>
                  <a:pt x="215" y="221"/>
                </a:cubicBezTo>
                <a:cubicBezTo>
                  <a:pt x="215" y="120"/>
                  <a:pt x="215" y="120"/>
                  <a:pt x="215" y="120"/>
                </a:cubicBezTo>
                <a:lnTo>
                  <a:pt x="93" y="120"/>
                </a:lnTo>
                <a:close/>
                <a:moveTo>
                  <a:pt x="162" y="477"/>
                </a:moveTo>
                <a:cubicBezTo>
                  <a:pt x="145" y="477"/>
                  <a:pt x="145" y="477"/>
                  <a:pt x="145" y="477"/>
                </a:cubicBezTo>
                <a:cubicBezTo>
                  <a:pt x="145" y="305"/>
                  <a:pt x="145" y="305"/>
                  <a:pt x="145" y="305"/>
                </a:cubicBezTo>
                <a:cubicBezTo>
                  <a:pt x="148" y="306"/>
                  <a:pt x="151" y="306"/>
                  <a:pt x="154" y="306"/>
                </a:cubicBezTo>
                <a:cubicBezTo>
                  <a:pt x="157" y="306"/>
                  <a:pt x="160" y="306"/>
                  <a:pt x="162" y="305"/>
                </a:cubicBezTo>
                <a:lnTo>
                  <a:pt x="162" y="477"/>
                </a:lnTo>
                <a:close/>
                <a:moveTo>
                  <a:pt x="191" y="221"/>
                </a:moveTo>
                <a:cubicBezTo>
                  <a:pt x="191" y="259"/>
                  <a:pt x="177" y="281"/>
                  <a:pt x="154" y="281"/>
                </a:cubicBezTo>
                <a:cubicBezTo>
                  <a:pt x="131" y="281"/>
                  <a:pt x="117" y="259"/>
                  <a:pt x="117" y="221"/>
                </a:cubicBezTo>
                <a:cubicBezTo>
                  <a:pt x="117" y="144"/>
                  <a:pt x="117" y="144"/>
                  <a:pt x="117" y="144"/>
                </a:cubicBezTo>
                <a:cubicBezTo>
                  <a:pt x="131" y="144"/>
                  <a:pt x="131" y="144"/>
                  <a:pt x="131" y="144"/>
                </a:cubicBezTo>
                <a:cubicBezTo>
                  <a:pt x="131" y="209"/>
                  <a:pt x="131" y="209"/>
                  <a:pt x="131" y="209"/>
                </a:cubicBezTo>
                <a:cubicBezTo>
                  <a:pt x="147" y="209"/>
                  <a:pt x="147" y="209"/>
                  <a:pt x="147" y="209"/>
                </a:cubicBezTo>
                <a:cubicBezTo>
                  <a:pt x="147" y="144"/>
                  <a:pt x="147" y="144"/>
                  <a:pt x="147" y="144"/>
                </a:cubicBezTo>
                <a:cubicBezTo>
                  <a:pt x="160" y="144"/>
                  <a:pt x="160" y="144"/>
                  <a:pt x="160" y="144"/>
                </a:cubicBezTo>
                <a:cubicBezTo>
                  <a:pt x="160" y="209"/>
                  <a:pt x="160" y="209"/>
                  <a:pt x="160" y="209"/>
                </a:cubicBezTo>
                <a:cubicBezTo>
                  <a:pt x="176" y="209"/>
                  <a:pt x="176" y="209"/>
                  <a:pt x="176" y="209"/>
                </a:cubicBezTo>
                <a:cubicBezTo>
                  <a:pt x="176" y="144"/>
                  <a:pt x="176" y="144"/>
                  <a:pt x="176" y="144"/>
                </a:cubicBezTo>
                <a:cubicBezTo>
                  <a:pt x="191" y="144"/>
                  <a:pt x="191" y="144"/>
                  <a:pt x="191" y="144"/>
                </a:cubicBezTo>
                <a:lnTo>
                  <a:pt x="191" y="221"/>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ja-JP" altLang="en-US"/>
          </a:p>
        </p:txBody>
      </p:sp>
      <p:grpSp>
        <p:nvGrpSpPr>
          <p:cNvPr id="10" name="Group 9">
            <a:extLst>
              <a:ext uri="{FF2B5EF4-FFF2-40B4-BE49-F238E27FC236}">
                <a16:creationId xmlns:a16="http://schemas.microsoft.com/office/drawing/2014/main" id="{B8B41375-691A-D606-20FB-0913C0004FD7}"/>
              </a:ext>
            </a:extLst>
          </p:cNvPr>
          <p:cNvGrpSpPr/>
          <p:nvPr/>
        </p:nvGrpSpPr>
        <p:grpSpPr>
          <a:xfrm>
            <a:off x="8844369" y="159786"/>
            <a:ext cx="2904719" cy="220267"/>
            <a:chOff x="8844369" y="159786"/>
            <a:chExt cx="2904719" cy="220267"/>
          </a:xfrm>
        </p:grpSpPr>
        <p:sp>
          <p:nvSpPr>
            <p:cNvPr id="12" name="Rectangle 11">
              <a:extLst>
                <a:ext uri="{FF2B5EF4-FFF2-40B4-BE49-F238E27FC236}">
                  <a16:creationId xmlns:a16="http://schemas.microsoft.com/office/drawing/2014/main" id="{BA58F25C-EF33-F54D-C7F2-147D5743B720}"/>
                </a:ext>
              </a:extLst>
            </p:cNvPr>
            <p:cNvSpPr/>
            <p:nvPr/>
          </p:nvSpPr>
          <p:spPr>
            <a:xfrm>
              <a:off x="9327597" y="159786"/>
              <a:ext cx="2179876"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Anthropogenic disasters</a:t>
              </a:r>
              <a:endParaRPr kumimoji="0" lang="en-US" sz="800" b="1" i="0" u="none" strike="noStrike" kern="0" cap="none" spc="0" normalizeH="0" baseline="0" dirty="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58525180-F59E-B1DD-6A7E-2887AEC7E6BB}"/>
                </a:ext>
              </a:extLst>
            </p:cNvPr>
            <p:cNvSpPr/>
            <p:nvPr/>
          </p:nvSpPr>
          <p:spPr>
            <a:xfrm>
              <a:off x="9085983"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90596621-EC5F-5124-2447-D643EB8A999E}"/>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4A8291BC-75CD-60F5-A593-A845DCC8F541}"/>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8701825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E384B44-88CC-8F76-E9AF-DBDBDD24EECE}"/>
              </a:ext>
            </a:extLst>
          </p:cNvPr>
          <p:cNvSpPr/>
          <p:nvPr/>
        </p:nvSpPr>
        <p:spPr>
          <a:xfrm>
            <a:off x="442913" y="1819275"/>
            <a:ext cx="1065928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If you are outdoors:</a:t>
            </a:r>
          </a:p>
        </p:txBody>
      </p:sp>
      <p:sp>
        <p:nvSpPr>
          <p:cNvPr id="61" name="Rectangle 60">
            <a:extLst>
              <a:ext uri="{FF2B5EF4-FFF2-40B4-BE49-F238E27FC236}">
                <a16:creationId xmlns:a16="http://schemas.microsoft.com/office/drawing/2014/main" id="{36EC9590-1EE1-4A70-E132-4F25FB2A166A}"/>
              </a:ext>
            </a:extLst>
          </p:cNvPr>
          <p:cNvSpPr/>
          <p:nvPr/>
        </p:nvSpPr>
        <p:spPr>
          <a:xfrm>
            <a:off x="11173087" y="1819202"/>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2" name="Rectangle 51">
            <a:extLst>
              <a:ext uri="{FF2B5EF4-FFF2-40B4-BE49-F238E27FC236}">
                <a16:creationId xmlns:a16="http://schemas.microsoft.com/office/drawing/2014/main" id="{54140961-D367-FFB1-E0FC-3F385487D472}"/>
              </a:ext>
            </a:extLst>
          </p:cNvPr>
          <p:cNvSpPr/>
          <p:nvPr/>
        </p:nvSpPr>
        <p:spPr>
          <a:xfrm>
            <a:off x="1107653" y="2538413"/>
            <a:ext cx="4808960"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Use cloth, medical or FFP2 masks if possible.</a:t>
            </a:r>
          </a:p>
        </p:txBody>
      </p:sp>
      <p:sp>
        <p:nvSpPr>
          <p:cNvPr id="57" name="Rectangle 56">
            <a:extLst>
              <a:ext uri="{FF2B5EF4-FFF2-40B4-BE49-F238E27FC236}">
                <a16:creationId xmlns:a16="http://schemas.microsoft.com/office/drawing/2014/main" id="{A073C5EE-5299-ADD0-94D7-3170276FA166}"/>
              </a:ext>
            </a:extLst>
          </p:cNvPr>
          <p:cNvSpPr/>
          <p:nvPr/>
        </p:nvSpPr>
        <p:spPr>
          <a:xfrm>
            <a:off x="442913" y="2549922"/>
            <a:ext cx="576263" cy="67490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436536"/>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2807FCC7-6EAD-0C0D-B605-03EEAC731F8C}"/>
              </a:ext>
            </a:extLst>
          </p:cNvPr>
          <p:cNvSpPr/>
          <p:nvPr/>
        </p:nvSpPr>
        <p:spPr>
          <a:xfrm>
            <a:off x="11102199" y="1819202"/>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Radiation accidents</a:t>
            </a:r>
            <a:br>
              <a:rPr lang="lv-LV"/>
            </a:br>
            <a:r>
              <a:rPr lang="en-gb">
                <a:solidFill>
                  <a:srgbClr val="A8192D"/>
                </a:solidFill>
              </a:rPr>
              <a:t>How to proceed? (2/4)</a:t>
            </a:r>
            <a:endParaRPr lang="en-GB"/>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453586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0397F1B3-1DAC-781B-5BE5-08FA024DC19C}"/>
              </a:ext>
            </a:extLst>
          </p:cNvPr>
          <p:cNvSpPr/>
          <p:nvPr/>
        </p:nvSpPr>
        <p:spPr>
          <a:xfrm>
            <a:off x="1107653" y="3637746"/>
            <a:ext cx="4808538"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tx1"/>
                </a:solidFill>
              </a:rPr>
              <a:t>Personal hygiene - avoid hand-to-face contact, wash hands when entering rooms.</a:t>
            </a:r>
          </a:p>
        </p:txBody>
      </p:sp>
      <p:sp>
        <p:nvSpPr>
          <p:cNvPr id="41" name="Rectangle 40">
            <a:extLst>
              <a:ext uri="{FF2B5EF4-FFF2-40B4-BE49-F238E27FC236}">
                <a16:creationId xmlns:a16="http://schemas.microsoft.com/office/drawing/2014/main" id="{66A14158-E11A-E312-8696-ADD9D0E04629}"/>
              </a:ext>
            </a:extLst>
          </p:cNvPr>
          <p:cNvSpPr/>
          <p:nvPr/>
        </p:nvSpPr>
        <p:spPr>
          <a:xfrm>
            <a:off x="1107653" y="4739531"/>
            <a:ext cx="4808538" cy="69726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If you are working outside, do not drink, eat or smoke while you are working.</a:t>
            </a:r>
          </a:p>
        </p:txBody>
      </p:sp>
      <p:sp>
        <p:nvSpPr>
          <p:cNvPr id="42" name="Rectangle 41">
            <a:extLst>
              <a:ext uri="{FF2B5EF4-FFF2-40B4-BE49-F238E27FC236}">
                <a16:creationId xmlns:a16="http://schemas.microsoft.com/office/drawing/2014/main" id="{986F6EBD-76CF-AA8A-DC11-0900DE8A8EB0}"/>
              </a:ext>
            </a:extLst>
          </p:cNvPr>
          <p:cNvSpPr/>
          <p:nvPr/>
        </p:nvSpPr>
        <p:spPr>
          <a:xfrm>
            <a:off x="6940549" y="2568659"/>
            <a:ext cx="4808538" cy="92738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0" i="0">
                <a:solidFill>
                  <a:schemeClr val="tx1"/>
                </a:solidFill>
                <a:effectLst/>
              </a:rPr>
              <a:t>It is advisable to change your shoes and clothes when entering indoor areas. Place the worn clothes in a polythene bag and keep out of the reach of people. The clothes can then be washed and reused.</a:t>
            </a:r>
          </a:p>
        </p:txBody>
      </p:sp>
      <p:sp>
        <p:nvSpPr>
          <p:cNvPr id="72" name="Rectangle 71">
            <a:extLst>
              <a:ext uri="{FF2B5EF4-FFF2-40B4-BE49-F238E27FC236}">
                <a16:creationId xmlns:a16="http://schemas.microsoft.com/office/drawing/2014/main" id="{2543AFCA-7DBC-4F76-9DA2-D2643AE45BA9}"/>
              </a:ext>
            </a:extLst>
          </p:cNvPr>
          <p:cNvSpPr/>
          <p:nvPr/>
        </p:nvSpPr>
        <p:spPr>
          <a:xfrm>
            <a:off x="442913" y="3633724"/>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84579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9" name="Rectangle 78">
            <a:extLst>
              <a:ext uri="{FF2B5EF4-FFF2-40B4-BE49-F238E27FC236}">
                <a16:creationId xmlns:a16="http://schemas.microsoft.com/office/drawing/2014/main" id="{33E6C1AD-B972-C1DB-5544-0E474CB14E21}"/>
              </a:ext>
            </a:extLst>
          </p:cNvPr>
          <p:cNvSpPr/>
          <p:nvPr/>
        </p:nvSpPr>
        <p:spPr>
          <a:xfrm>
            <a:off x="442913" y="4739531"/>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95159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3" name="Rectangle 82">
            <a:extLst>
              <a:ext uri="{FF2B5EF4-FFF2-40B4-BE49-F238E27FC236}">
                <a16:creationId xmlns:a16="http://schemas.microsoft.com/office/drawing/2014/main" id="{85C12B75-1D6E-881F-E30B-68674AFA8E56}"/>
              </a:ext>
            </a:extLst>
          </p:cNvPr>
          <p:cNvSpPr/>
          <p:nvPr/>
        </p:nvSpPr>
        <p:spPr>
          <a:xfrm>
            <a:off x="6275809" y="2549922"/>
            <a:ext cx="576263" cy="92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4" name="L-Shape 83">
            <a:extLst>
              <a:ext uri="{FF2B5EF4-FFF2-40B4-BE49-F238E27FC236}">
                <a16:creationId xmlns:a16="http://schemas.microsoft.com/office/drawing/2014/main" id="{7F96781D-05E5-6540-1293-76F097AE987A}"/>
              </a:ext>
            </a:extLst>
          </p:cNvPr>
          <p:cNvSpPr/>
          <p:nvPr/>
        </p:nvSpPr>
        <p:spPr>
          <a:xfrm rot="13500000">
            <a:off x="6392203" y="289555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5</a:t>
            </a:fld>
            <a:endParaRPr lang="en-GB"/>
          </a:p>
        </p:txBody>
      </p:sp>
      <p:sp>
        <p:nvSpPr>
          <p:cNvPr id="9" name="TextBox 8">
            <a:extLst>
              <a:ext uri="{FF2B5EF4-FFF2-40B4-BE49-F238E27FC236}">
                <a16:creationId xmlns:a16="http://schemas.microsoft.com/office/drawing/2014/main" id="{A60B2152-534E-51B4-687F-152F4DFE85AF}"/>
              </a:ext>
            </a:extLst>
          </p:cNvPr>
          <p:cNvSpPr txBox="1"/>
          <p:nvPr/>
        </p:nvSpPr>
        <p:spPr>
          <a:xfrm>
            <a:off x="406336" y="1468020"/>
            <a:ext cx="12042378" cy="338554"/>
          </a:xfrm>
          <a:prstGeom prst="rect">
            <a:avLst/>
          </a:prstGeom>
          <a:noFill/>
        </p:spPr>
        <p:txBody>
          <a:bodyPr wrap="square" rtlCol="0">
            <a:spAutoFit/>
          </a:bodyPr>
          <a:lstStyle/>
          <a:p>
            <a:pPr rtl="0"/>
            <a:r>
              <a:rPr lang="en-gb" sz="1600" b="1">
                <a:solidFill>
                  <a:srgbClr val="A8192D"/>
                </a:solidFill>
              </a:rPr>
              <a:t>What should be done in the event of a release of radioactive substances outside Latvia?</a:t>
            </a:r>
          </a:p>
        </p:txBody>
      </p:sp>
      <p:grpSp>
        <p:nvGrpSpPr>
          <p:cNvPr id="3" name="Graphic 58">
            <a:extLst>
              <a:ext uri="{FF2B5EF4-FFF2-40B4-BE49-F238E27FC236}">
                <a16:creationId xmlns:a16="http://schemas.microsoft.com/office/drawing/2014/main" id="{CEE2B732-AE6B-E304-5351-06EC57D60C02}"/>
              </a:ext>
            </a:extLst>
          </p:cNvPr>
          <p:cNvGrpSpPr/>
          <p:nvPr/>
        </p:nvGrpSpPr>
        <p:grpSpPr>
          <a:xfrm>
            <a:off x="11281643" y="1927202"/>
            <a:ext cx="360000" cy="360000"/>
            <a:chOff x="6475829" y="2560815"/>
            <a:chExt cx="457200" cy="457200"/>
          </a:xfrm>
          <a:solidFill>
            <a:schemeClr val="bg1"/>
          </a:solidFill>
        </p:grpSpPr>
        <p:grpSp>
          <p:nvGrpSpPr>
            <p:cNvPr id="4" name="Graphic 58">
              <a:extLst>
                <a:ext uri="{FF2B5EF4-FFF2-40B4-BE49-F238E27FC236}">
                  <a16:creationId xmlns:a16="http://schemas.microsoft.com/office/drawing/2014/main" id="{5D70009D-6D01-DFBD-9BD6-AEF418530DCE}"/>
                </a:ext>
              </a:extLst>
            </p:cNvPr>
            <p:cNvGrpSpPr/>
            <p:nvPr/>
          </p:nvGrpSpPr>
          <p:grpSpPr>
            <a:xfrm>
              <a:off x="6475829" y="2560815"/>
              <a:ext cx="457200" cy="457200"/>
              <a:chOff x="6475829" y="2560815"/>
              <a:chExt cx="457200" cy="457200"/>
            </a:xfrm>
            <a:grpFill/>
          </p:grpSpPr>
          <p:sp>
            <p:nvSpPr>
              <p:cNvPr id="7" name="Freeform 95">
                <a:extLst>
                  <a:ext uri="{FF2B5EF4-FFF2-40B4-BE49-F238E27FC236}">
                    <a16:creationId xmlns:a16="http://schemas.microsoft.com/office/drawing/2014/main" id="{E5F50E5A-F177-55C3-1B8F-5E88D8F6D3BE}"/>
                  </a:ext>
                </a:extLst>
              </p:cNvPr>
              <p:cNvSpPr/>
              <p:nvPr/>
            </p:nvSpPr>
            <p:spPr>
              <a:xfrm>
                <a:off x="6695412" y="2712611"/>
                <a:ext cx="19526" cy="146049"/>
              </a:xfrm>
              <a:custGeom>
                <a:avLst/>
                <a:gdLst>
                  <a:gd name="connsiteX0" fmla="*/ 19526 w 19526"/>
                  <a:gd name="connsiteY0" fmla="*/ 146050 h 146049"/>
                  <a:gd name="connsiteX1" fmla="*/ 0 w 19526"/>
                  <a:gd name="connsiteY1" fmla="*/ 146050 h 146049"/>
                  <a:gd name="connsiteX2" fmla="*/ 0 w 19526"/>
                  <a:gd name="connsiteY2" fmla="*/ 127000 h 146049"/>
                  <a:gd name="connsiteX3" fmla="*/ 19526 w 19526"/>
                  <a:gd name="connsiteY3" fmla="*/ 127000 h 146049"/>
                  <a:gd name="connsiteX4" fmla="*/ 19526 w 19526"/>
                  <a:gd name="connsiteY4" fmla="*/ 82550 h 146049"/>
                  <a:gd name="connsiteX5" fmla="*/ 0 w 19526"/>
                  <a:gd name="connsiteY5" fmla="*/ 82550 h 146049"/>
                  <a:gd name="connsiteX6" fmla="*/ 0 w 19526"/>
                  <a:gd name="connsiteY6" fmla="*/ 63500 h 146049"/>
                  <a:gd name="connsiteX7" fmla="*/ 19526 w 19526"/>
                  <a:gd name="connsiteY7" fmla="*/ 63500 h 146049"/>
                  <a:gd name="connsiteX8" fmla="*/ 19526 w 19526"/>
                  <a:gd name="connsiteY8" fmla="*/ 19050 h 146049"/>
                  <a:gd name="connsiteX9" fmla="*/ 0 w 19526"/>
                  <a:gd name="connsiteY9" fmla="*/ 19050 h 146049"/>
                  <a:gd name="connsiteX10" fmla="*/ 0 w 19526"/>
                  <a:gd name="connsiteY10" fmla="*/ 0 h 146049"/>
                  <a:gd name="connsiteX11" fmla="*/ 19526 w 19526"/>
                  <a:gd name="connsiteY11" fmla="*/ 0 h 146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26" h="146049">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pPr rtl="0"/>
                <a:endParaRPr lang="en-GB"/>
              </a:p>
            </p:txBody>
          </p:sp>
          <p:sp>
            <p:nvSpPr>
              <p:cNvPr id="10" name="Freeform 98">
                <a:extLst>
                  <a:ext uri="{FF2B5EF4-FFF2-40B4-BE49-F238E27FC236}">
                    <a16:creationId xmlns:a16="http://schemas.microsoft.com/office/drawing/2014/main" id="{423B388D-0CE5-CD1F-5FCC-A75D145B332D}"/>
                  </a:ext>
                </a:extLst>
              </p:cNvPr>
              <p:cNvSpPr/>
              <p:nvPr/>
            </p:nvSpPr>
            <p:spPr>
              <a:xfrm>
                <a:off x="6767135" y="2712579"/>
                <a:ext cx="19526" cy="273050"/>
              </a:xfrm>
              <a:custGeom>
                <a:avLst/>
                <a:gdLst>
                  <a:gd name="connsiteX0" fmla="*/ 19526 w 19526"/>
                  <a:gd name="connsiteY0" fmla="*/ 273050 h 273050"/>
                  <a:gd name="connsiteX1" fmla="*/ 0 w 19526"/>
                  <a:gd name="connsiteY1" fmla="*/ 273050 h 273050"/>
                  <a:gd name="connsiteX2" fmla="*/ 0 w 19526"/>
                  <a:gd name="connsiteY2" fmla="*/ 254000 h 273050"/>
                  <a:gd name="connsiteX3" fmla="*/ 19526 w 19526"/>
                  <a:gd name="connsiteY3" fmla="*/ 254000 h 273050"/>
                  <a:gd name="connsiteX4" fmla="*/ 19526 w 19526"/>
                  <a:gd name="connsiteY4" fmla="*/ 209550 h 273050"/>
                  <a:gd name="connsiteX5" fmla="*/ 0 w 19526"/>
                  <a:gd name="connsiteY5" fmla="*/ 209550 h 273050"/>
                  <a:gd name="connsiteX6" fmla="*/ 0 w 19526"/>
                  <a:gd name="connsiteY6" fmla="*/ 190500 h 273050"/>
                  <a:gd name="connsiteX7" fmla="*/ 19526 w 19526"/>
                  <a:gd name="connsiteY7" fmla="*/ 190500 h 273050"/>
                  <a:gd name="connsiteX8" fmla="*/ 19526 w 19526"/>
                  <a:gd name="connsiteY8" fmla="*/ 146050 h 273050"/>
                  <a:gd name="connsiteX9" fmla="*/ 0 w 19526"/>
                  <a:gd name="connsiteY9" fmla="*/ 146050 h 273050"/>
                  <a:gd name="connsiteX10" fmla="*/ 0 w 19526"/>
                  <a:gd name="connsiteY10" fmla="*/ 127000 h 273050"/>
                  <a:gd name="connsiteX11" fmla="*/ 19526 w 19526"/>
                  <a:gd name="connsiteY11" fmla="*/ 127000 h 273050"/>
                  <a:gd name="connsiteX12" fmla="*/ 19526 w 19526"/>
                  <a:gd name="connsiteY12" fmla="*/ 82550 h 273050"/>
                  <a:gd name="connsiteX13" fmla="*/ 0 w 19526"/>
                  <a:gd name="connsiteY13" fmla="*/ 82550 h 273050"/>
                  <a:gd name="connsiteX14" fmla="*/ 0 w 19526"/>
                  <a:gd name="connsiteY14" fmla="*/ 63500 h 273050"/>
                  <a:gd name="connsiteX15" fmla="*/ 19526 w 19526"/>
                  <a:gd name="connsiteY15" fmla="*/ 63500 h 273050"/>
                  <a:gd name="connsiteX16" fmla="*/ 19526 w 19526"/>
                  <a:gd name="connsiteY16" fmla="*/ 19050 h 273050"/>
                  <a:gd name="connsiteX17" fmla="*/ 0 w 19526"/>
                  <a:gd name="connsiteY17" fmla="*/ 19050 h 273050"/>
                  <a:gd name="connsiteX18" fmla="*/ 0 w 19526"/>
                  <a:gd name="connsiteY18" fmla="*/ 0 h 273050"/>
                  <a:gd name="connsiteX19" fmla="*/ 19526 w 19526"/>
                  <a:gd name="connsiteY19" fmla="*/ 0 h 27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526" h="27305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pPr rtl="0"/>
                <a:endParaRPr lang="en-GB"/>
              </a:p>
            </p:txBody>
          </p:sp>
          <p:sp>
            <p:nvSpPr>
              <p:cNvPr id="12" name="Freeform 102">
                <a:extLst>
                  <a:ext uri="{FF2B5EF4-FFF2-40B4-BE49-F238E27FC236}">
                    <a16:creationId xmlns:a16="http://schemas.microsoft.com/office/drawing/2014/main" id="{5B947381-4A9E-45CF-5F5C-42E011A987F6}"/>
                  </a:ext>
                </a:extLst>
              </p:cNvPr>
              <p:cNvSpPr/>
              <p:nvPr/>
            </p:nvSpPr>
            <p:spPr>
              <a:xfrm>
                <a:off x="6623657" y="2839580"/>
                <a:ext cx="19526" cy="146050"/>
              </a:xfrm>
              <a:custGeom>
                <a:avLst/>
                <a:gdLst>
                  <a:gd name="connsiteX0" fmla="*/ 19526 w 19526"/>
                  <a:gd name="connsiteY0" fmla="*/ 146050 h 146050"/>
                  <a:gd name="connsiteX1" fmla="*/ 0 w 19526"/>
                  <a:gd name="connsiteY1" fmla="*/ 146050 h 146050"/>
                  <a:gd name="connsiteX2" fmla="*/ 0 w 19526"/>
                  <a:gd name="connsiteY2" fmla="*/ 127000 h 146050"/>
                  <a:gd name="connsiteX3" fmla="*/ 19526 w 19526"/>
                  <a:gd name="connsiteY3" fmla="*/ 127000 h 146050"/>
                  <a:gd name="connsiteX4" fmla="*/ 19526 w 19526"/>
                  <a:gd name="connsiteY4" fmla="*/ 82550 h 146050"/>
                  <a:gd name="connsiteX5" fmla="*/ 0 w 19526"/>
                  <a:gd name="connsiteY5" fmla="*/ 82550 h 146050"/>
                  <a:gd name="connsiteX6" fmla="*/ 0 w 19526"/>
                  <a:gd name="connsiteY6" fmla="*/ 63500 h 146050"/>
                  <a:gd name="connsiteX7" fmla="*/ 19526 w 19526"/>
                  <a:gd name="connsiteY7" fmla="*/ 63500 h 146050"/>
                  <a:gd name="connsiteX8" fmla="*/ 19526 w 19526"/>
                  <a:gd name="connsiteY8" fmla="*/ 19050 h 146050"/>
                  <a:gd name="connsiteX9" fmla="*/ 0 w 19526"/>
                  <a:gd name="connsiteY9" fmla="*/ 19050 h 146050"/>
                  <a:gd name="connsiteX10" fmla="*/ 0 w 19526"/>
                  <a:gd name="connsiteY10" fmla="*/ 0 h 146050"/>
                  <a:gd name="connsiteX11" fmla="*/ 19526 w 19526"/>
                  <a:gd name="connsiteY11" fmla="*/ 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526" h="14605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w="3175" cap="flat">
                <a:noFill/>
                <a:prstDash val="solid"/>
                <a:miter/>
              </a:ln>
            </p:spPr>
            <p:txBody>
              <a:bodyPr rtlCol="0" anchor="ctr"/>
              <a:lstStyle/>
              <a:p>
                <a:pPr rtl="0"/>
                <a:endParaRPr lang="en-GB"/>
              </a:p>
            </p:txBody>
          </p:sp>
          <p:sp>
            <p:nvSpPr>
              <p:cNvPr id="13" name="Freeform 103">
                <a:extLst>
                  <a:ext uri="{FF2B5EF4-FFF2-40B4-BE49-F238E27FC236}">
                    <a16:creationId xmlns:a16="http://schemas.microsoft.com/office/drawing/2014/main" id="{5DE0C094-C7F5-89DD-5FDC-A31575364B31}"/>
                  </a:ext>
                </a:extLst>
              </p:cNvPr>
              <p:cNvSpPr/>
              <p:nvPr/>
            </p:nvSpPr>
            <p:spPr>
              <a:xfrm>
                <a:off x="6475829" y="2560815"/>
                <a:ext cx="457200" cy="457200"/>
              </a:xfrm>
              <a:custGeom>
                <a:avLst/>
                <a:gdLst>
                  <a:gd name="connsiteX0" fmla="*/ 0 w 457200"/>
                  <a:gd name="connsiteY0" fmla="*/ 0 h 457200"/>
                  <a:gd name="connsiteX1" fmla="*/ 0 w 457200"/>
                  <a:gd name="connsiteY1" fmla="*/ 457200 h 457200"/>
                  <a:gd name="connsiteX2" fmla="*/ 103092 w 457200"/>
                  <a:gd name="connsiteY2" fmla="*/ 457200 h 457200"/>
                  <a:gd name="connsiteX3" fmla="*/ 103092 w 457200"/>
                  <a:gd name="connsiteY3" fmla="*/ 421259 h 457200"/>
                  <a:gd name="connsiteX4" fmla="*/ 103092 w 457200"/>
                  <a:gd name="connsiteY4" fmla="*/ 421259 h 457200"/>
                  <a:gd name="connsiteX5" fmla="*/ 103092 w 457200"/>
                  <a:gd name="connsiteY5" fmla="*/ 233204 h 457200"/>
                  <a:gd name="connsiteX6" fmla="*/ 167354 w 457200"/>
                  <a:gd name="connsiteY6" fmla="*/ 233204 h 457200"/>
                  <a:gd name="connsiteX7" fmla="*/ 167354 w 457200"/>
                  <a:gd name="connsiteY7" fmla="*/ 109379 h 457200"/>
                  <a:gd name="connsiteX8" fmla="*/ 354965 w 457200"/>
                  <a:gd name="connsiteY8" fmla="*/ 109379 h 457200"/>
                  <a:gd name="connsiteX9" fmla="*/ 354965 w 457200"/>
                  <a:gd name="connsiteY9" fmla="*/ 437547 h 457200"/>
                  <a:gd name="connsiteX10" fmla="*/ 354965 w 457200"/>
                  <a:gd name="connsiteY10" fmla="*/ 437547 h 457200"/>
                  <a:gd name="connsiteX11" fmla="*/ 354965 w 457200"/>
                  <a:gd name="connsiteY11" fmla="*/ 457200 h 457200"/>
                  <a:gd name="connsiteX12" fmla="*/ 457200 w 457200"/>
                  <a:gd name="connsiteY12" fmla="*/ 457200 h 457200"/>
                  <a:gd name="connsiteX13" fmla="*/ 457200 w 457200"/>
                  <a:gd name="connsiteY13" fmla="*/ 0 h 457200"/>
                  <a:gd name="connsiteX14" fmla="*/ 437706 w 457200"/>
                  <a:gd name="connsiteY14" fmla="*/ 437706 h 457200"/>
                  <a:gd name="connsiteX15" fmla="*/ 374650 w 457200"/>
                  <a:gd name="connsiteY15" fmla="*/ 437706 h 457200"/>
                  <a:gd name="connsiteX16" fmla="*/ 374650 w 457200"/>
                  <a:gd name="connsiteY16" fmla="*/ 89757 h 457200"/>
                  <a:gd name="connsiteX17" fmla="*/ 147828 w 457200"/>
                  <a:gd name="connsiteY17" fmla="*/ 89757 h 457200"/>
                  <a:gd name="connsiteX18" fmla="*/ 147828 w 457200"/>
                  <a:gd name="connsiteY18" fmla="*/ 213582 h 457200"/>
                  <a:gd name="connsiteX19" fmla="*/ 83566 w 457200"/>
                  <a:gd name="connsiteY19" fmla="*/ 213582 h 457200"/>
                  <a:gd name="connsiteX20" fmla="*/ 83566 w 457200"/>
                  <a:gd name="connsiteY20" fmla="*/ 437610 h 457200"/>
                  <a:gd name="connsiteX21" fmla="*/ 19495 w 457200"/>
                  <a:gd name="connsiteY21" fmla="*/ 437610 h 457200"/>
                  <a:gd name="connsiteX22" fmla="*/ 19495 w 457200"/>
                  <a:gd name="connsiteY22" fmla="*/ 19495 h 457200"/>
                  <a:gd name="connsiteX23" fmla="*/ 437706 w 457200"/>
                  <a:gd name="connsiteY23" fmla="*/ 1949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45720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w="3175" cap="flat">
                <a:noFill/>
                <a:prstDash val="solid"/>
                <a:miter/>
              </a:ln>
            </p:spPr>
            <p:txBody>
              <a:bodyPr rtlCol="0" anchor="ctr"/>
              <a:lstStyle/>
              <a:p>
                <a:pPr rtl="0"/>
                <a:endParaRPr lang="en-GB"/>
              </a:p>
            </p:txBody>
          </p:sp>
        </p:grpSp>
        <p:sp>
          <p:nvSpPr>
            <p:cNvPr id="5" name="Freeform 94">
              <a:extLst>
                <a:ext uri="{FF2B5EF4-FFF2-40B4-BE49-F238E27FC236}">
                  <a16:creationId xmlns:a16="http://schemas.microsoft.com/office/drawing/2014/main" id="{07FE5D5B-4462-1D01-2C4E-503B4F13BECE}"/>
                </a:ext>
              </a:extLst>
            </p:cNvPr>
            <p:cNvSpPr/>
            <p:nvPr/>
          </p:nvSpPr>
          <p:spPr>
            <a:xfrm>
              <a:off x="6664074" y="2899555"/>
              <a:ext cx="82168" cy="118459"/>
            </a:xfrm>
            <a:custGeom>
              <a:avLst/>
              <a:gdLst>
                <a:gd name="connsiteX0" fmla="*/ 41465 w 82168"/>
                <a:gd name="connsiteY0" fmla="*/ 118459 h 118459"/>
                <a:gd name="connsiteX1" fmla="*/ 82169 w 82168"/>
                <a:gd name="connsiteY1" fmla="*/ 77756 h 118459"/>
                <a:gd name="connsiteX2" fmla="*/ 68294 w 82168"/>
                <a:gd name="connsiteY2" fmla="*/ 63817 h 118459"/>
                <a:gd name="connsiteX3" fmla="*/ 51340 w 82168"/>
                <a:gd name="connsiteY3" fmla="*/ 80804 h 118459"/>
                <a:gd name="connsiteX4" fmla="*/ 51340 w 82168"/>
                <a:gd name="connsiteY4" fmla="*/ 0 h 118459"/>
                <a:gd name="connsiteX5" fmla="*/ 31655 w 82168"/>
                <a:gd name="connsiteY5" fmla="*/ 0 h 118459"/>
                <a:gd name="connsiteX6" fmla="*/ 31655 w 82168"/>
                <a:gd name="connsiteY6" fmla="*/ 80804 h 118459"/>
                <a:gd name="connsiteX7" fmla="*/ 13906 w 82168"/>
                <a:gd name="connsiteY7" fmla="*/ 63056 h 118459"/>
                <a:gd name="connsiteX8" fmla="*/ 0 w 82168"/>
                <a:gd name="connsiteY8" fmla="*/ 76962 h 118459"/>
                <a:gd name="connsiteX9" fmla="*/ 41465 w 82168"/>
                <a:gd name="connsiteY9" fmla="*/ 118459 h 11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168" h="118459">
                  <a:moveTo>
                    <a:pt x="41465" y="118459"/>
                  </a:moveTo>
                  <a:lnTo>
                    <a:pt x="82169" y="77756"/>
                  </a:lnTo>
                  <a:lnTo>
                    <a:pt x="68294" y="63817"/>
                  </a:lnTo>
                  <a:lnTo>
                    <a:pt x="51340" y="80804"/>
                  </a:lnTo>
                  <a:lnTo>
                    <a:pt x="51340" y="0"/>
                  </a:lnTo>
                  <a:lnTo>
                    <a:pt x="31655" y="0"/>
                  </a:lnTo>
                  <a:lnTo>
                    <a:pt x="31655" y="80804"/>
                  </a:lnTo>
                  <a:lnTo>
                    <a:pt x="13906" y="63056"/>
                  </a:lnTo>
                  <a:lnTo>
                    <a:pt x="0" y="76962"/>
                  </a:lnTo>
                  <a:lnTo>
                    <a:pt x="41465" y="118459"/>
                  </a:lnTo>
                </a:path>
              </a:pathLst>
            </a:custGeom>
            <a:grpFill/>
            <a:ln w="3175" cap="flat">
              <a:noFill/>
              <a:prstDash val="solid"/>
              <a:miter/>
            </a:ln>
          </p:spPr>
          <p:txBody>
            <a:bodyPr rtlCol="0" anchor="ctr"/>
            <a:lstStyle/>
            <a:p>
              <a:pPr rtl="0"/>
              <a:endParaRPr lang="en-GB"/>
            </a:p>
          </p:txBody>
        </p:sp>
      </p:grpSp>
      <p:cxnSp>
        <p:nvCxnSpPr>
          <p:cNvPr id="28" name="Straight Connector 27">
            <a:extLst>
              <a:ext uri="{FF2B5EF4-FFF2-40B4-BE49-F238E27FC236}">
                <a16:creationId xmlns:a16="http://schemas.microsoft.com/office/drawing/2014/main" id="{9A921EC8-4C9A-A5FC-7BB5-10AE549B4377}"/>
              </a:ext>
            </a:extLst>
          </p:cNvPr>
          <p:cNvCxnSpPr>
            <a:cxnSpLocks/>
          </p:cNvCxnSpPr>
          <p:nvPr/>
        </p:nvCxnSpPr>
        <p:spPr>
          <a:xfrm>
            <a:off x="6940549" y="363145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9" name="Rectangle 28">
            <a:extLst>
              <a:ext uri="{FF2B5EF4-FFF2-40B4-BE49-F238E27FC236}">
                <a16:creationId xmlns:a16="http://schemas.microsoft.com/office/drawing/2014/main" id="{10C96375-C3C4-F68B-CD89-A68C54AF8F84}"/>
              </a:ext>
            </a:extLst>
          </p:cNvPr>
          <p:cNvSpPr/>
          <p:nvPr/>
        </p:nvSpPr>
        <p:spPr>
          <a:xfrm>
            <a:off x="6940549" y="3769329"/>
            <a:ext cx="4808538" cy="6969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0" i="0">
                <a:solidFill>
                  <a:schemeClr val="tx1"/>
                </a:solidFill>
                <a:effectLst/>
              </a:rPr>
              <a:t>If there has been precipitation during your stay outside, it is advisable to take a shower when you return indoors.</a:t>
            </a:r>
          </a:p>
        </p:txBody>
      </p:sp>
      <p:sp>
        <p:nvSpPr>
          <p:cNvPr id="30" name="Rectangle 29">
            <a:extLst>
              <a:ext uri="{FF2B5EF4-FFF2-40B4-BE49-F238E27FC236}">
                <a16:creationId xmlns:a16="http://schemas.microsoft.com/office/drawing/2014/main" id="{496E6F77-AE06-7023-65AB-FAC5DCA8E6FF}"/>
              </a:ext>
            </a:extLst>
          </p:cNvPr>
          <p:cNvSpPr/>
          <p:nvPr/>
        </p:nvSpPr>
        <p:spPr>
          <a:xfrm>
            <a:off x="6275809" y="3769329"/>
            <a:ext cx="576263" cy="69691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1" name="L-Shape 30">
            <a:extLst>
              <a:ext uri="{FF2B5EF4-FFF2-40B4-BE49-F238E27FC236}">
                <a16:creationId xmlns:a16="http://schemas.microsoft.com/office/drawing/2014/main" id="{40C4A000-B75C-8725-3EB7-7A9CAD176A2D}"/>
              </a:ext>
            </a:extLst>
          </p:cNvPr>
          <p:cNvSpPr/>
          <p:nvPr/>
        </p:nvSpPr>
        <p:spPr>
          <a:xfrm rot="13500000">
            <a:off x="6392203" y="398139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32" name="Straight Connector 31">
            <a:extLst>
              <a:ext uri="{FF2B5EF4-FFF2-40B4-BE49-F238E27FC236}">
                <a16:creationId xmlns:a16="http://schemas.microsoft.com/office/drawing/2014/main" id="{1A3FD94C-D6BB-0439-6178-290572B34001}"/>
              </a:ext>
            </a:extLst>
          </p:cNvPr>
          <p:cNvCxnSpPr>
            <a:cxnSpLocks/>
          </p:cNvCxnSpPr>
          <p:nvPr/>
        </p:nvCxnSpPr>
        <p:spPr>
          <a:xfrm>
            <a:off x="6940549" y="4601660"/>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3" name="Rectangle 32">
            <a:extLst>
              <a:ext uri="{FF2B5EF4-FFF2-40B4-BE49-F238E27FC236}">
                <a16:creationId xmlns:a16="http://schemas.microsoft.com/office/drawing/2014/main" id="{6E8BF17C-53B5-630E-979A-3CC8264EEE44}"/>
              </a:ext>
            </a:extLst>
          </p:cNvPr>
          <p:cNvSpPr/>
          <p:nvPr/>
        </p:nvSpPr>
        <p:spPr>
          <a:xfrm>
            <a:off x="6940549" y="4739531"/>
            <a:ext cx="4808538" cy="69726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0" i="0">
                <a:solidFill>
                  <a:schemeClr val="tx1"/>
                </a:solidFill>
                <a:effectLst/>
              </a:rPr>
              <a:t>During rainfall, it is advisable to stay outdoors for as short a time as possible. Priority should be given to staying indoors.</a:t>
            </a:r>
          </a:p>
        </p:txBody>
      </p:sp>
      <p:sp>
        <p:nvSpPr>
          <p:cNvPr id="34" name="Rectangle 33">
            <a:extLst>
              <a:ext uri="{FF2B5EF4-FFF2-40B4-BE49-F238E27FC236}">
                <a16:creationId xmlns:a16="http://schemas.microsoft.com/office/drawing/2014/main" id="{ED0312F7-84B3-7C97-4A14-0976448A313E}"/>
              </a:ext>
            </a:extLst>
          </p:cNvPr>
          <p:cNvSpPr/>
          <p:nvPr/>
        </p:nvSpPr>
        <p:spPr>
          <a:xfrm>
            <a:off x="6275809" y="4739531"/>
            <a:ext cx="576263" cy="6973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5" name="L-Shape 34">
            <a:extLst>
              <a:ext uri="{FF2B5EF4-FFF2-40B4-BE49-F238E27FC236}">
                <a16:creationId xmlns:a16="http://schemas.microsoft.com/office/drawing/2014/main" id="{913D2FA7-9B6A-8F6C-7BFD-31911B1B939C}"/>
              </a:ext>
            </a:extLst>
          </p:cNvPr>
          <p:cNvSpPr/>
          <p:nvPr/>
        </p:nvSpPr>
        <p:spPr>
          <a:xfrm rot="13500000">
            <a:off x="6392203" y="495179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6" name="Rectangle 35">
            <a:extLst>
              <a:ext uri="{FF2B5EF4-FFF2-40B4-BE49-F238E27FC236}">
                <a16:creationId xmlns:a16="http://schemas.microsoft.com/office/drawing/2014/main" id="{5AD01DBC-AFD7-E800-0FE5-B09BD7E06B97}"/>
              </a:ext>
            </a:extLst>
          </p:cNvPr>
          <p:cNvSpPr/>
          <p:nvPr/>
        </p:nvSpPr>
        <p:spPr>
          <a:xfrm>
            <a:off x="442490" y="5596825"/>
            <a:ext cx="576263" cy="57421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7" name="Rectangle 36">
            <a:extLst>
              <a:ext uri="{FF2B5EF4-FFF2-40B4-BE49-F238E27FC236}">
                <a16:creationId xmlns:a16="http://schemas.microsoft.com/office/drawing/2014/main" id="{AD8200EF-88AC-AA65-E0B9-3F4573904EEF}"/>
              </a:ext>
            </a:extLst>
          </p:cNvPr>
          <p:cNvSpPr/>
          <p:nvPr/>
        </p:nvSpPr>
        <p:spPr>
          <a:xfrm>
            <a:off x="1018753" y="5596825"/>
            <a:ext cx="10730334" cy="574215"/>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1" i="0">
                <a:solidFill>
                  <a:schemeClr val="bg1"/>
                </a:solidFill>
                <a:effectLst/>
              </a:rPr>
              <a:t>Radioactive contamination is most dangerous in the first few hours. Stay indoors if possible!</a:t>
            </a:r>
          </a:p>
        </p:txBody>
      </p:sp>
      <p:sp>
        <p:nvSpPr>
          <p:cNvPr id="39" name="L-Shape 38">
            <a:extLst>
              <a:ext uri="{FF2B5EF4-FFF2-40B4-BE49-F238E27FC236}">
                <a16:creationId xmlns:a16="http://schemas.microsoft.com/office/drawing/2014/main" id="{F4D83BB3-1E71-C674-4641-EC296C9E5DD3}"/>
              </a:ext>
            </a:extLst>
          </p:cNvPr>
          <p:cNvSpPr/>
          <p:nvPr/>
        </p:nvSpPr>
        <p:spPr>
          <a:xfrm rot="13500000">
            <a:off x="568833" y="5747544"/>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8" name="Group 7">
            <a:extLst>
              <a:ext uri="{FF2B5EF4-FFF2-40B4-BE49-F238E27FC236}">
                <a16:creationId xmlns:a16="http://schemas.microsoft.com/office/drawing/2014/main" id="{69F9D196-24D5-92B4-5F3F-2986543DC6D1}"/>
              </a:ext>
            </a:extLst>
          </p:cNvPr>
          <p:cNvGrpSpPr/>
          <p:nvPr/>
        </p:nvGrpSpPr>
        <p:grpSpPr>
          <a:xfrm>
            <a:off x="8844369" y="159786"/>
            <a:ext cx="2904719" cy="220267"/>
            <a:chOff x="8844369" y="159786"/>
            <a:chExt cx="2904719" cy="220267"/>
          </a:xfrm>
        </p:grpSpPr>
        <p:sp>
          <p:nvSpPr>
            <p:cNvPr id="18" name="Rectangle 17">
              <a:extLst>
                <a:ext uri="{FF2B5EF4-FFF2-40B4-BE49-F238E27FC236}">
                  <a16:creationId xmlns:a16="http://schemas.microsoft.com/office/drawing/2014/main" id="{C34C54D4-3F16-CF7B-30A0-814B995CCA9E}"/>
                </a:ext>
              </a:extLst>
            </p:cNvPr>
            <p:cNvSpPr/>
            <p:nvPr/>
          </p:nvSpPr>
          <p:spPr>
            <a:xfrm>
              <a:off x="9327597" y="159786"/>
              <a:ext cx="2179876"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Anthropogenic disasters</a:t>
              </a:r>
              <a:endParaRPr kumimoji="0" lang="en-US" sz="800" b="1" i="0" u="none" strike="noStrike" kern="0" cap="none" spc="0" normalizeH="0" baseline="0" dirty="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DC7C70E2-3F47-2663-5AC2-ED4B12C90508}"/>
                </a:ext>
              </a:extLst>
            </p:cNvPr>
            <p:cNvSpPr/>
            <p:nvPr/>
          </p:nvSpPr>
          <p:spPr>
            <a:xfrm>
              <a:off x="9085983"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73189489-DB78-B026-14BC-6C1C14E47689}"/>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95AD808B-4BD9-C4C0-E3F1-906CB0F8F596}"/>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7395985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8793B610-11BB-3DD5-343E-D5A1842E54DF}"/>
              </a:ext>
            </a:extLst>
          </p:cNvPr>
          <p:cNvSpPr/>
          <p:nvPr/>
        </p:nvSpPr>
        <p:spPr>
          <a:xfrm>
            <a:off x="1100557" y="3053965"/>
            <a:ext cx="4814475"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rgbClr val="212529"/>
                </a:solidFill>
              </a:rPr>
              <a:t>If you do have to stay out, don't drink, eat or smoke.</a:t>
            </a:r>
          </a:p>
        </p:txBody>
      </p:sp>
      <p:sp>
        <p:nvSpPr>
          <p:cNvPr id="68" name="Rectangle 67">
            <a:extLst>
              <a:ext uri="{FF2B5EF4-FFF2-40B4-BE49-F238E27FC236}">
                <a16:creationId xmlns:a16="http://schemas.microsoft.com/office/drawing/2014/main" id="{DC58C25F-8110-0C29-4A50-5DADA78B621C}"/>
              </a:ext>
            </a:extLst>
          </p:cNvPr>
          <p:cNvSpPr/>
          <p:nvPr/>
        </p:nvSpPr>
        <p:spPr>
          <a:xfrm>
            <a:off x="442914" y="1819275"/>
            <a:ext cx="1130356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If you are outdoors:</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Radiation accidents</a:t>
            </a:r>
            <a:br>
              <a:rPr lang="en-GB"/>
            </a:br>
            <a:r>
              <a:rPr lang="en-gb">
                <a:solidFill>
                  <a:srgbClr val="A8192D"/>
                </a:solidFill>
              </a:rPr>
              <a:t>How to proceed? (3/4)</a:t>
            </a:r>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6</a:t>
            </a:fld>
            <a:endParaRPr lang="en-GB"/>
          </a:p>
        </p:txBody>
      </p:sp>
      <p:sp>
        <p:nvSpPr>
          <p:cNvPr id="33" name="Rectangle 32">
            <a:extLst>
              <a:ext uri="{FF2B5EF4-FFF2-40B4-BE49-F238E27FC236}">
                <a16:creationId xmlns:a16="http://schemas.microsoft.com/office/drawing/2014/main" id="{A9EA678B-1C92-D1EC-5EF2-97D0A4907E68}"/>
              </a:ext>
            </a:extLst>
          </p:cNvPr>
          <p:cNvSpPr/>
          <p:nvPr/>
        </p:nvSpPr>
        <p:spPr>
          <a:xfrm>
            <a:off x="1103726" y="3607929"/>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Remember hygiene! Avoid contact with the face. Wash your hands when entering rooms.</a:t>
            </a:r>
          </a:p>
        </p:txBody>
      </p:sp>
      <p:sp>
        <p:nvSpPr>
          <p:cNvPr id="75" name="Rectangle 74">
            <a:extLst>
              <a:ext uri="{FF2B5EF4-FFF2-40B4-BE49-F238E27FC236}">
                <a16:creationId xmlns:a16="http://schemas.microsoft.com/office/drawing/2014/main" id="{AB24C0B9-0E0F-E3B2-1237-5CBEE719A1F1}"/>
              </a:ext>
            </a:extLst>
          </p:cNvPr>
          <p:cNvSpPr/>
          <p:nvPr/>
        </p:nvSpPr>
        <p:spPr>
          <a:xfrm>
            <a:off x="1103726" y="2538413"/>
            <a:ext cx="4814475"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Go inside the nearest building.</a:t>
            </a:r>
          </a:p>
        </p:txBody>
      </p:sp>
      <p:sp>
        <p:nvSpPr>
          <p:cNvPr id="77" name="Rectangle 76">
            <a:extLst>
              <a:ext uri="{FF2B5EF4-FFF2-40B4-BE49-F238E27FC236}">
                <a16:creationId xmlns:a16="http://schemas.microsoft.com/office/drawing/2014/main" id="{7507519A-1DE4-B47D-BFBC-5EC74A788B23}"/>
              </a:ext>
            </a:extLst>
          </p:cNvPr>
          <p:cNvSpPr/>
          <p:nvPr/>
        </p:nvSpPr>
        <p:spPr>
          <a:xfrm>
            <a:off x="1099649" y="4675146"/>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rgbClr val="212529"/>
                </a:solidFill>
              </a:rPr>
              <a:t>Turn off or shut down the ventilation system and air conditioners.</a:t>
            </a:r>
          </a:p>
        </p:txBody>
      </p:sp>
      <p:sp>
        <p:nvSpPr>
          <p:cNvPr id="99" name="Rectangle 98">
            <a:extLst>
              <a:ext uri="{FF2B5EF4-FFF2-40B4-BE49-F238E27FC236}">
                <a16:creationId xmlns:a16="http://schemas.microsoft.com/office/drawing/2014/main" id="{805B5EBD-6AAC-3E2E-7379-47BAFD8ABB47}"/>
              </a:ext>
            </a:extLst>
          </p:cNvPr>
          <p:cNvSpPr/>
          <p:nvPr/>
        </p:nvSpPr>
        <p:spPr>
          <a:xfrm>
            <a:off x="1103500" y="4159794"/>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Close windows and doors.</a:t>
            </a:r>
          </a:p>
        </p:txBody>
      </p:sp>
      <p:grpSp>
        <p:nvGrpSpPr>
          <p:cNvPr id="110" name="Group 109">
            <a:extLst>
              <a:ext uri="{FF2B5EF4-FFF2-40B4-BE49-F238E27FC236}">
                <a16:creationId xmlns:a16="http://schemas.microsoft.com/office/drawing/2014/main" id="{6CD1AF9A-0F79-0BC6-85AD-5E53AFCEB102}"/>
              </a:ext>
            </a:extLst>
          </p:cNvPr>
          <p:cNvGrpSpPr/>
          <p:nvPr/>
        </p:nvGrpSpPr>
        <p:grpSpPr>
          <a:xfrm>
            <a:off x="442914" y="2538569"/>
            <a:ext cx="576263" cy="432000"/>
            <a:chOff x="442914" y="2538569"/>
            <a:chExt cx="576263" cy="432000"/>
          </a:xfrm>
        </p:grpSpPr>
        <p:sp>
          <p:nvSpPr>
            <p:cNvPr id="5" name="Rectangle 4">
              <a:extLst>
                <a:ext uri="{FF2B5EF4-FFF2-40B4-BE49-F238E27FC236}">
                  <a16:creationId xmlns:a16="http://schemas.microsoft.com/office/drawing/2014/main" id="{9B01BFF2-7C6C-4A11-DDDF-DFEB1E669057}"/>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 name="L-Shape 5">
              <a:extLst>
                <a:ext uri="{FF2B5EF4-FFF2-40B4-BE49-F238E27FC236}">
                  <a16:creationId xmlns:a16="http://schemas.microsoft.com/office/drawing/2014/main" id="{5C78887E-1D81-C336-D2B1-A3180DF6D42B}"/>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12" name="Rectangle 11">
            <a:extLst>
              <a:ext uri="{FF2B5EF4-FFF2-40B4-BE49-F238E27FC236}">
                <a16:creationId xmlns:a16="http://schemas.microsoft.com/office/drawing/2014/main" id="{6C159E5C-6825-65ED-B20E-2427062C845D}"/>
              </a:ext>
            </a:extLst>
          </p:cNvPr>
          <p:cNvSpPr/>
          <p:nvPr/>
        </p:nvSpPr>
        <p:spPr>
          <a:xfrm>
            <a:off x="1103913" y="5190498"/>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Seal openings for extractor fans in kitchens, bathrooms and other rooms with adhesive tape, cling film or aluminium foil.</a:t>
            </a:r>
          </a:p>
        </p:txBody>
      </p:sp>
      <p:cxnSp>
        <p:nvCxnSpPr>
          <p:cNvPr id="13" name="Straight Connector 12">
            <a:extLst>
              <a:ext uri="{FF2B5EF4-FFF2-40B4-BE49-F238E27FC236}">
                <a16:creationId xmlns:a16="http://schemas.microsoft.com/office/drawing/2014/main" id="{57E638E7-D0A4-5E2D-AACB-B8C40DD06519}"/>
              </a:ext>
            </a:extLst>
          </p:cNvPr>
          <p:cNvCxnSpPr>
            <a:cxnSpLocks/>
          </p:cNvCxnSpPr>
          <p:nvPr/>
        </p:nvCxnSpPr>
        <p:spPr>
          <a:xfrm>
            <a:off x="1103313" y="3010262"/>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D5F3E7D7-11B3-9912-9E28-D800635741FC}"/>
              </a:ext>
            </a:extLst>
          </p:cNvPr>
          <p:cNvCxnSpPr>
            <a:cxnSpLocks/>
          </p:cNvCxnSpPr>
          <p:nvPr/>
        </p:nvCxnSpPr>
        <p:spPr>
          <a:xfrm>
            <a:off x="1103313" y="3562127"/>
            <a:ext cx="481488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0B98F0A9-A0F5-94E3-A94F-1CD87810FB99}"/>
              </a:ext>
            </a:extLst>
          </p:cNvPr>
          <p:cNvCxnSpPr>
            <a:cxnSpLocks/>
          </p:cNvCxnSpPr>
          <p:nvPr/>
        </p:nvCxnSpPr>
        <p:spPr>
          <a:xfrm>
            <a:off x="1103726" y="5146795"/>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7" name="Straight Connector 26">
            <a:extLst>
              <a:ext uri="{FF2B5EF4-FFF2-40B4-BE49-F238E27FC236}">
                <a16:creationId xmlns:a16="http://schemas.microsoft.com/office/drawing/2014/main" id="{5FE1F1BA-74EB-89F7-7A1C-E75D518CD996}"/>
              </a:ext>
            </a:extLst>
          </p:cNvPr>
          <p:cNvCxnSpPr>
            <a:cxnSpLocks/>
          </p:cNvCxnSpPr>
          <p:nvPr/>
        </p:nvCxnSpPr>
        <p:spPr>
          <a:xfrm>
            <a:off x="1103726" y="4631443"/>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8" name="Straight Connector 27">
            <a:extLst>
              <a:ext uri="{FF2B5EF4-FFF2-40B4-BE49-F238E27FC236}">
                <a16:creationId xmlns:a16="http://schemas.microsoft.com/office/drawing/2014/main" id="{CA568E8B-8B6F-B25E-3CB3-5A3C3D31C90A}"/>
              </a:ext>
            </a:extLst>
          </p:cNvPr>
          <p:cNvCxnSpPr>
            <a:cxnSpLocks/>
          </p:cNvCxnSpPr>
          <p:nvPr/>
        </p:nvCxnSpPr>
        <p:spPr>
          <a:xfrm>
            <a:off x="1103726" y="411609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0" name="TextBox 9">
            <a:extLst>
              <a:ext uri="{FF2B5EF4-FFF2-40B4-BE49-F238E27FC236}">
                <a16:creationId xmlns:a16="http://schemas.microsoft.com/office/drawing/2014/main" id="{7144CF5C-EB38-5E76-4FA4-1F678E79C166}"/>
              </a:ext>
            </a:extLst>
          </p:cNvPr>
          <p:cNvSpPr txBox="1"/>
          <p:nvPr/>
        </p:nvSpPr>
        <p:spPr>
          <a:xfrm>
            <a:off x="406336" y="1468020"/>
            <a:ext cx="12042378" cy="338554"/>
          </a:xfrm>
          <a:prstGeom prst="rect">
            <a:avLst/>
          </a:prstGeom>
          <a:noFill/>
        </p:spPr>
        <p:txBody>
          <a:bodyPr wrap="square" rtlCol="0">
            <a:spAutoFit/>
          </a:bodyPr>
          <a:lstStyle/>
          <a:p>
            <a:pPr rtl="0"/>
            <a:r>
              <a:rPr lang="en-gb" sz="1600" b="1" dirty="0">
                <a:solidFill>
                  <a:srgbClr val="A8192D"/>
                </a:solidFill>
              </a:rPr>
              <a:t>What if there is a spill in Latvia?</a:t>
            </a:r>
          </a:p>
        </p:txBody>
      </p:sp>
      <p:grpSp>
        <p:nvGrpSpPr>
          <p:cNvPr id="51" name="Group 50">
            <a:extLst>
              <a:ext uri="{FF2B5EF4-FFF2-40B4-BE49-F238E27FC236}">
                <a16:creationId xmlns:a16="http://schemas.microsoft.com/office/drawing/2014/main" id="{02714D5C-394C-FA7A-89BD-D6C3E6DDE799}"/>
              </a:ext>
            </a:extLst>
          </p:cNvPr>
          <p:cNvGrpSpPr/>
          <p:nvPr/>
        </p:nvGrpSpPr>
        <p:grpSpPr>
          <a:xfrm>
            <a:off x="443327" y="5190394"/>
            <a:ext cx="576263" cy="468000"/>
            <a:chOff x="442913" y="2538569"/>
            <a:chExt cx="576263" cy="468000"/>
          </a:xfrm>
        </p:grpSpPr>
        <p:sp>
          <p:nvSpPr>
            <p:cNvPr id="57" name="Rectangle 56">
              <a:extLst>
                <a:ext uri="{FF2B5EF4-FFF2-40B4-BE49-F238E27FC236}">
                  <a16:creationId xmlns:a16="http://schemas.microsoft.com/office/drawing/2014/main" id="{F52AF210-997F-37CC-6525-8A2DA6E5CB9E}"/>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8" name="L-Shape 57">
              <a:extLst>
                <a:ext uri="{FF2B5EF4-FFF2-40B4-BE49-F238E27FC236}">
                  <a16:creationId xmlns:a16="http://schemas.microsoft.com/office/drawing/2014/main" id="{03E6C29C-5E5B-F27A-AD19-028D2CE8047B}"/>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59" name="Group 58">
            <a:extLst>
              <a:ext uri="{FF2B5EF4-FFF2-40B4-BE49-F238E27FC236}">
                <a16:creationId xmlns:a16="http://schemas.microsoft.com/office/drawing/2014/main" id="{21C10D3A-31A3-75AC-4BA4-5CB8D48B965F}"/>
              </a:ext>
            </a:extLst>
          </p:cNvPr>
          <p:cNvGrpSpPr/>
          <p:nvPr/>
        </p:nvGrpSpPr>
        <p:grpSpPr>
          <a:xfrm>
            <a:off x="443327" y="3606499"/>
            <a:ext cx="576263" cy="468000"/>
            <a:chOff x="442913" y="2538569"/>
            <a:chExt cx="576263" cy="468000"/>
          </a:xfrm>
        </p:grpSpPr>
        <p:sp>
          <p:nvSpPr>
            <p:cNvPr id="60" name="Rectangle 59">
              <a:extLst>
                <a:ext uri="{FF2B5EF4-FFF2-40B4-BE49-F238E27FC236}">
                  <a16:creationId xmlns:a16="http://schemas.microsoft.com/office/drawing/2014/main" id="{32DCC19A-D25C-C9C8-B19B-F5B99F0B4EB7}"/>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1" name="L-Shape 60">
              <a:extLst>
                <a:ext uri="{FF2B5EF4-FFF2-40B4-BE49-F238E27FC236}">
                  <a16:creationId xmlns:a16="http://schemas.microsoft.com/office/drawing/2014/main" id="{7DAD89AC-6F76-4E91-9850-4775FEAD5282}"/>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62" name="Group 61">
            <a:extLst>
              <a:ext uri="{FF2B5EF4-FFF2-40B4-BE49-F238E27FC236}">
                <a16:creationId xmlns:a16="http://schemas.microsoft.com/office/drawing/2014/main" id="{15798646-B909-135F-7236-4AA72E451288}"/>
              </a:ext>
            </a:extLst>
          </p:cNvPr>
          <p:cNvGrpSpPr/>
          <p:nvPr/>
        </p:nvGrpSpPr>
        <p:grpSpPr>
          <a:xfrm>
            <a:off x="443327" y="3054534"/>
            <a:ext cx="576263" cy="468000"/>
            <a:chOff x="442913" y="2538569"/>
            <a:chExt cx="576263" cy="468000"/>
          </a:xfrm>
        </p:grpSpPr>
        <p:sp>
          <p:nvSpPr>
            <p:cNvPr id="63" name="Rectangle 62">
              <a:extLst>
                <a:ext uri="{FF2B5EF4-FFF2-40B4-BE49-F238E27FC236}">
                  <a16:creationId xmlns:a16="http://schemas.microsoft.com/office/drawing/2014/main" id="{D8747A8D-355F-48CB-3975-016B59697FDB}"/>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4" name="L-Shape 63">
              <a:extLst>
                <a:ext uri="{FF2B5EF4-FFF2-40B4-BE49-F238E27FC236}">
                  <a16:creationId xmlns:a16="http://schemas.microsoft.com/office/drawing/2014/main" id="{ED881F96-1176-5FAE-ED84-ED7709F8217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74" name="Rectangle 73">
            <a:extLst>
              <a:ext uri="{FF2B5EF4-FFF2-40B4-BE49-F238E27FC236}">
                <a16:creationId xmlns:a16="http://schemas.microsoft.com/office/drawing/2014/main" id="{6CF3CB0A-A56C-02D9-4F27-650811AFFCC6}"/>
              </a:ext>
            </a:extLst>
          </p:cNvPr>
          <p:cNvSpPr/>
          <p:nvPr/>
        </p:nvSpPr>
        <p:spPr>
          <a:xfrm>
            <a:off x="6936200" y="3106694"/>
            <a:ext cx="4814475" cy="72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rgbClr val="212529"/>
                </a:solidFill>
              </a:rPr>
              <a:t>If it is not possible to provide a change of clothes or to provide washing facilities, e.g. if it is not possible to return to your place of residence, then remove the outer layer of clothing and place it in an area where people are not present.</a:t>
            </a:r>
          </a:p>
        </p:txBody>
      </p:sp>
      <p:sp>
        <p:nvSpPr>
          <p:cNvPr id="78" name="Rectangle 77">
            <a:extLst>
              <a:ext uri="{FF2B5EF4-FFF2-40B4-BE49-F238E27FC236}">
                <a16:creationId xmlns:a16="http://schemas.microsoft.com/office/drawing/2014/main" id="{BEE6A379-E20D-006F-272E-4243851DCD95}"/>
              </a:ext>
            </a:extLst>
          </p:cNvPr>
          <p:cNvSpPr/>
          <p:nvPr/>
        </p:nvSpPr>
        <p:spPr>
          <a:xfrm>
            <a:off x="6935974" y="3928605"/>
            <a:ext cx="4814701" cy="576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If possible, shower thoroughly with plenty of lukewarm water. Use detergents if possible. Try not to injure your skin.</a:t>
            </a:r>
          </a:p>
        </p:txBody>
      </p:sp>
      <p:sp>
        <p:nvSpPr>
          <p:cNvPr id="79" name="Rectangle 78">
            <a:extLst>
              <a:ext uri="{FF2B5EF4-FFF2-40B4-BE49-F238E27FC236}">
                <a16:creationId xmlns:a16="http://schemas.microsoft.com/office/drawing/2014/main" id="{919D34C6-1F0F-4D91-CF9A-51B5D8E17633}"/>
              </a:ext>
            </a:extLst>
          </p:cNvPr>
          <p:cNvSpPr/>
          <p:nvPr/>
        </p:nvSpPr>
        <p:spPr>
          <a:xfrm>
            <a:off x="6936200" y="2538569"/>
            <a:ext cx="4814475"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If possible, take off your clothes, put them in a polythene bag and seal it.</a:t>
            </a:r>
          </a:p>
        </p:txBody>
      </p:sp>
      <p:sp>
        <p:nvSpPr>
          <p:cNvPr id="80" name="Rectangle 79">
            <a:extLst>
              <a:ext uri="{FF2B5EF4-FFF2-40B4-BE49-F238E27FC236}">
                <a16:creationId xmlns:a16="http://schemas.microsoft.com/office/drawing/2014/main" id="{319DB5E8-2E74-E25C-33E3-9C94F275A923}"/>
              </a:ext>
            </a:extLst>
          </p:cNvPr>
          <p:cNvSpPr/>
          <p:nvPr/>
        </p:nvSpPr>
        <p:spPr>
          <a:xfrm>
            <a:off x="6935974" y="5172542"/>
            <a:ext cx="4814701"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rgbClr val="212529"/>
                </a:solidFill>
              </a:rPr>
              <a:t>Rinse your mouth with clean water.</a:t>
            </a:r>
          </a:p>
        </p:txBody>
      </p:sp>
      <p:sp>
        <p:nvSpPr>
          <p:cNvPr id="81" name="Rectangle 80">
            <a:extLst>
              <a:ext uri="{FF2B5EF4-FFF2-40B4-BE49-F238E27FC236}">
                <a16:creationId xmlns:a16="http://schemas.microsoft.com/office/drawing/2014/main" id="{FA8813D8-2CC1-1911-1C11-B45C11D28077}"/>
              </a:ext>
            </a:extLst>
          </p:cNvPr>
          <p:cNvSpPr/>
          <p:nvPr/>
        </p:nvSpPr>
        <p:spPr>
          <a:xfrm>
            <a:off x="6935974" y="4604417"/>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chemeClr val="tx1"/>
                </a:solidFill>
              </a:rPr>
              <a:t>If possible, scrub vigorously, wash your hair and rinse it thoroughly. </a:t>
            </a:r>
            <a:r>
              <a:rPr lang="en-gb" sz="1200" b="1">
                <a:solidFill>
                  <a:srgbClr val="A8192D"/>
                </a:solidFill>
              </a:rPr>
              <a:t>Remember! </a:t>
            </a:r>
            <a:r>
              <a:rPr lang="en-gb" sz="1200">
                <a:solidFill>
                  <a:srgbClr val="A8192D"/>
                </a:solidFill>
              </a:rPr>
              <a:t>Do not use conditioner.</a:t>
            </a:r>
          </a:p>
        </p:txBody>
      </p:sp>
      <p:grpSp>
        <p:nvGrpSpPr>
          <p:cNvPr id="82" name="Group 81">
            <a:extLst>
              <a:ext uri="{FF2B5EF4-FFF2-40B4-BE49-F238E27FC236}">
                <a16:creationId xmlns:a16="http://schemas.microsoft.com/office/drawing/2014/main" id="{12D98A13-3903-52FE-FE40-C8C772EEFA3F}"/>
              </a:ext>
            </a:extLst>
          </p:cNvPr>
          <p:cNvGrpSpPr/>
          <p:nvPr/>
        </p:nvGrpSpPr>
        <p:grpSpPr>
          <a:xfrm>
            <a:off x="6275388" y="2538725"/>
            <a:ext cx="576263" cy="468000"/>
            <a:chOff x="442913" y="2538569"/>
            <a:chExt cx="576263" cy="468000"/>
          </a:xfrm>
        </p:grpSpPr>
        <p:sp>
          <p:nvSpPr>
            <p:cNvPr id="83" name="Rectangle 82">
              <a:extLst>
                <a:ext uri="{FF2B5EF4-FFF2-40B4-BE49-F238E27FC236}">
                  <a16:creationId xmlns:a16="http://schemas.microsoft.com/office/drawing/2014/main" id="{1D999110-5029-8414-8058-62CD4AB61D6A}"/>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4" name="L-Shape 83">
              <a:extLst>
                <a:ext uri="{FF2B5EF4-FFF2-40B4-BE49-F238E27FC236}">
                  <a16:creationId xmlns:a16="http://schemas.microsoft.com/office/drawing/2014/main" id="{43CCB661-1AEB-8106-B311-3D09DE534D9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85" name="Rectangle 84">
            <a:extLst>
              <a:ext uri="{FF2B5EF4-FFF2-40B4-BE49-F238E27FC236}">
                <a16:creationId xmlns:a16="http://schemas.microsoft.com/office/drawing/2014/main" id="{359FC1C1-574C-DFF4-B7A5-487546BBBFA1}"/>
              </a:ext>
            </a:extLst>
          </p:cNvPr>
          <p:cNvSpPr/>
          <p:nvPr/>
        </p:nvSpPr>
        <p:spPr>
          <a:xfrm>
            <a:off x="6935974" y="5704356"/>
            <a:ext cx="4814701" cy="46831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Repeat the washing process two to three times. Avoid getting detergent foam in your eyes and mouth.</a:t>
            </a:r>
          </a:p>
        </p:txBody>
      </p:sp>
      <p:cxnSp>
        <p:nvCxnSpPr>
          <p:cNvPr id="86" name="Straight Connector 85">
            <a:extLst>
              <a:ext uri="{FF2B5EF4-FFF2-40B4-BE49-F238E27FC236}">
                <a16:creationId xmlns:a16="http://schemas.microsoft.com/office/drawing/2014/main" id="{5B489D4A-1DD1-8C9C-6177-EAFA7EDA7169}"/>
              </a:ext>
            </a:extLst>
          </p:cNvPr>
          <p:cNvCxnSpPr>
            <a:cxnSpLocks/>
          </p:cNvCxnSpPr>
          <p:nvPr/>
        </p:nvCxnSpPr>
        <p:spPr>
          <a:xfrm>
            <a:off x="6935787" y="305486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7" name="Straight Connector 86">
            <a:extLst>
              <a:ext uri="{FF2B5EF4-FFF2-40B4-BE49-F238E27FC236}">
                <a16:creationId xmlns:a16="http://schemas.microsoft.com/office/drawing/2014/main" id="{A32D7C2A-C0E2-91D3-B4C4-F759BE111FAD}"/>
              </a:ext>
            </a:extLst>
          </p:cNvPr>
          <p:cNvCxnSpPr>
            <a:cxnSpLocks/>
          </p:cNvCxnSpPr>
          <p:nvPr/>
        </p:nvCxnSpPr>
        <p:spPr>
          <a:xfrm>
            <a:off x="6935787" y="3874673"/>
            <a:ext cx="481488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8" name="Straight Connector 87">
            <a:extLst>
              <a:ext uri="{FF2B5EF4-FFF2-40B4-BE49-F238E27FC236}">
                <a16:creationId xmlns:a16="http://schemas.microsoft.com/office/drawing/2014/main" id="{5B57EB0D-8F44-D739-CFBB-2FEFB96C379E}"/>
              </a:ext>
            </a:extLst>
          </p:cNvPr>
          <p:cNvCxnSpPr>
            <a:cxnSpLocks/>
          </p:cNvCxnSpPr>
          <p:nvPr/>
        </p:nvCxnSpPr>
        <p:spPr>
          <a:xfrm>
            <a:off x="6935787" y="5652521"/>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9" name="Straight Connector 88">
            <a:extLst>
              <a:ext uri="{FF2B5EF4-FFF2-40B4-BE49-F238E27FC236}">
                <a16:creationId xmlns:a16="http://schemas.microsoft.com/office/drawing/2014/main" id="{54862E64-08FA-AC94-0D12-BF6B60ADECEA}"/>
              </a:ext>
            </a:extLst>
          </p:cNvPr>
          <p:cNvCxnSpPr>
            <a:cxnSpLocks/>
          </p:cNvCxnSpPr>
          <p:nvPr/>
        </p:nvCxnSpPr>
        <p:spPr>
          <a:xfrm>
            <a:off x="6935787" y="5120709"/>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0" name="Straight Connector 89">
            <a:extLst>
              <a:ext uri="{FF2B5EF4-FFF2-40B4-BE49-F238E27FC236}">
                <a16:creationId xmlns:a16="http://schemas.microsoft.com/office/drawing/2014/main" id="{E1FFA91B-0117-7FD5-772C-8F1703FF4CCB}"/>
              </a:ext>
            </a:extLst>
          </p:cNvPr>
          <p:cNvCxnSpPr>
            <a:cxnSpLocks/>
          </p:cNvCxnSpPr>
          <p:nvPr/>
        </p:nvCxnSpPr>
        <p:spPr>
          <a:xfrm>
            <a:off x="6935787" y="4552584"/>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91" name="Group 90">
            <a:extLst>
              <a:ext uri="{FF2B5EF4-FFF2-40B4-BE49-F238E27FC236}">
                <a16:creationId xmlns:a16="http://schemas.microsoft.com/office/drawing/2014/main" id="{E13CB5FC-C102-F4DE-DA18-7ED00AD94C13}"/>
              </a:ext>
            </a:extLst>
          </p:cNvPr>
          <p:cNvGrpSpPr/>
          <p:nvPr/>
        </p:nvGrpSpPr>
        <p:grpSpPr>
          <a:xfrm>
            <a:off x="6275388" y="5704356"/>
            <a:ext cx="576263" cy="468000"/>
            <a:chOff x="442913" y="2538569"/>
            <a:chExt cx="576263" cy="468000"/>
          </a:xfrm>
        </p:grpSpPr>
        <p:sp>
          <p:nvSpPr>
            <p:cNvPr id="92" name="Rectangle 91">
              <a:extLst>
                <a:ext uri="{FF2B5EF4-FFF2-40B4-BE49-F238E27FC236}">
                  <a16:creationId xmlns:a16="http://schemas.microsoft.com/office/drawing/2014/main" id="{4AAB96CA-4CAC-BFBB-566F-86B680BB2F9B}"/>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3" name="L-Shape 92">
              <a:extLst>
                <a:ext uri="{FF2B5EF4-FFF2-40B4-BE49-F238E27FC236}">
                  <a16:creationId xmlns:a16="http://schemas.microsoft.com/office/drawing/2014/main" id="{6AA8BC93-3AFB-DF04-114A-8397DB0D9A63}"/>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08" name="Group 107">
            <a:extLst>
              <a:ext uri="{FF2B5EF4-FFF2-40B4-BE49-F238E27FC236}">
                <a16:creationId xmlns:a16="http://schemas.microsoft.com/office/drawing/2014/main" id="{24FDA2AD-6753-C05F-7516-CE3E2AACF8BC}"/>
              </a:ext>
            </a:extLst>
          </p:cNvPr>
          <p:cNvGrpSpPr/>
          <p:nvPr/>
        </p:nvGrpSpPr>
        <p:grpSpPr>
          <a:xfrm>
            <a:off x="6275388" y="3939522"/>
            <a:ext cx="576263" cy="544661"/>
            <a:chOff x="6275388" y="3959943"/>
            <a:chExt cx="576263" cy="544661"/>
          </a:xfrm>
        </p:grpSpPr>
        <p:sp>
          <p:nvSpPr>
            <p:cNvPr id="95" name="Rectangle 94">
              <a:extLst>
                <a:ext uri="{FF2B5EF4-FFF2-40B4-BE49-F238E27FC236}">
                  <a16:creationId xmlns:a16="http://schemas.microsoft.com/office/drawing/2014/main" id="{A925002E-7F22-BD8E-F902-D19EB74E9023}"/>
                </a:ext>
              </a:extLst>
            </p:cNvPr>
            <p:cNvSpPr/>
            <p:nvPr/>
          </p:nvSpPr>
          <p:spPr>
            <a:xfrm>
              <a:off x="6275388" y="3959943"/>
              <a:ext cx="576263" cy="54466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6" name="L-Shape 95">
              <a:extLst>
                <a:ext uri="{FF2B5EF4-FFF2-40B4-BE49-F238E27FC236}">
                  <a16:creationId xmlns:a16="http://schemas.microsoft.com/office/drawing/2014/main" id="{783B2AF6-C38B-E5F1-B234-A6F78746FE0E}"/>
                </a:ext>
              </a:extLst>
            </p:cNvPr>
            <p:cNvSpPr/>
            <p:nvPr/>
          </p:nvSpPr>
          <p:spPr>
            <a:xfrm rot="13500000">
              <a:off x="6391782" y="40958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09" name="Group 108">
            <a:extLst>
              <a:ext uri="{FF2B5EF4-FFF2-40B4-BE49-F238E27FC236}">
                <a16:creationId xmlns:a16="http://schemas.microsoft.com/office/drawing/2014/main" id="{513022A4-D0F8-CB1D-B01A-37A5F1C62861}"/>
              </a:ext>
            </a:extLst>
          </p:cNvPr>
          <p:cNvGrpSpPr/>
          <p:nvPr/>
        </p:nvGrpSpPr>
        <p:grpSpPr>
          <a:xfrm>
            <a:off x="6275388" y="3101449"/>
            <a:ext cx="576263" cy="743349"/>
            <a:chOff x="6275388" y="3116781"/>
            <a:chExt cx="576263" cy="743349"/>
          </a:xfrm>
        </p:grpSpPr>
        <p:sp>
          <p:nvSpPr>
            <p:cNvPr id="100" name="Rectangle 99">
              <a:extLst>
                <a:ext uri="{FF2B5EF4-FFF2-40B4-BE49-F238E27FC236}">
                  <a16:creationId xmlns:a16="http://schemas.microsoft.com/office/drawing/2014/main" id="{E5E7320D-A26B-1295-E6B3-5CA5A9A33174}"/>
                </a:ext>
              </a:extLst>
            </p:cNvPr>
            <p:cNvSpPr/>
            <p:nvPr/>
          </p:nvSpPr>
          <p:spPr>
            <a:xfrm>
              <a:off x="6275388" y="3116781"/>
              <a:ext cx="576263" cy="74334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01" name="L-Shape 100">
              <a:extLst>
                <a:ext uri="{FF2B5EF4-FFF2-40B4-BE49-F238E27FC236}">
                  <a16:creationId xmlns:a16="http://schemas.microsoft.com/office/drawing/2014/main" id="{D0A7602C-92E5-C633-CE9C-1F05C5F0CB8C}"/>
                </a:ext>
              </a:extLst>
            </p:cNvPr>
            <p:cNvSpPr/>
            <p:nvPr/>
          </p:nvSpPr>
          <p:spPr>
            <a:xfrm rot="13500000">
              <a:off x="6391782" y="33520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02" name="Group 101">
            <a:extLst>
              <a:ext uri="{FF2B5EF4-FFF2-40B4-BE49-F238E27FC236}">
                <a16:creationId xmlns:a16="http://schemas.microsoft.com/office/drawing/2014/main" id="{45B001D9-78A0-9CDE-C9A2-B18E9E695C8A}"/>
              </a:ext>
            </a:extLst>
          </p:cNvPr>
          <p:cNvGrpSpPr/>
          <p:nvPr/>
        </p:nvGrpSpPr>
        <p:grpSpPr>
          <a:xfrm>
            <a:off x="6275388" y="4578907"/>
            <a:ext cx="576263" cy="468000"/>
            <a:chOff x="442913" y="2538569"/>
            <a:chExt cx="576263" cy="468000"/>
          </a:xfrm>
        </p:grpSpPr>
        <p:sp>
          <p:nvSpPr>
            <p:cNvPr id="103" name="Rectangle 102">
              <a:extLst>
                <a:ext uri="{FF2B5EF4-FFF2-40B4-BE49-F238E27FC236}">
                  <a16:creationId xmlns:a16="http://schemas.microsoft.com/office/drawing/2014/main" id="{E1CA6FA3-643F-03FF-5A2C-1166327064E2}"/>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04" name="L-Shape 103">
              <a:extLst>
                <a:ext uri="{FF2B5EF4-FFF2-40B4-BE49-F238E27FC236}">
                  <a16:creationId xmlns:a16="http://schemas.microsoft.com/office/drawing/2014/main" id="{FBD7C1A8-74BF-4B82-F5BD-D44011AB43DB}"/>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05" name="Group 104">
            <a:extLst>
              <a:ext uri="{FF2B5EF4-FFF2-40B4-BE49-F238E27FC236}">
                <a16:creationId xmlns:a16="http://schemas.microsoft.com/office/drawing/2014/main" id="{A7B5C9A3-D5D4-3D01-BB0C-DA7FADE7E0A1}"/>
              </a:ext>
            </a:extLst>
          </p:cNvPr>
          <p:cNvGrpSpPr/>
          <p:nvPr/>
        </p:nvGrpSpPr>
        <p:grpSpPr>
          <a:xfrm>
            <a:off x="6275388" y="5141631"/>
            <a:ext cx="576263" cy="468000"/>
            <a:chOff x="442913" y="2538569"/>
            <a:chExt cx="576263" cy="468000"/>
          </a:xfrm>
        </p:grpSpPr>
        <p:sp>
          <p:nvSpPr>
            <p:cNvPr id="106" name="Rectangle 105">
              <a:extLst>
                <a:ext uri="{FF2B5EF4-FFF2-40B4-BE49-F238E27FC236}">
                  <a16:creationId xmlns:a16="http://schemas.microsoft.com/office/drawing/2014/main" id="{013A8535-76B6-2C53-E508-279E6D38C057}"/>
                </a:ext>
              </a:extLst>
            </p:cNvPr>
            <p:cNvSpPr/>
            <p:nvPr/>
          </p:nvSpPr>
          <p:spPr>
            <a:xfrm>
              <a:off x="442913" y="2538569"/>
              <a:ext cx="576263" cy="468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07" name="L-Shape 106">
              <a:extLst>
                <a:ext uri="{FF2B5EF4-FFF2-40B4-BE49-F238E27FC236}">
                  <a16:creationId xmlns:a16="http://schemas.microsoft.com/office/drawing/2014/main" id="{4EB2EB83-B135-2FA0-8A7B-BFC57B958DB9}"/>
                </a:ext>
              </a:extLst>
            </p:cNvPr>
            <p:cNvSpPr/>
            <p:nvPr/>
          </p:nvSpPr>
          <p:spPr>
            <a:xfrm rot="13500000">
              <a:off x="559307" y="2636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11" name="Group 110">
            <a:extLst>
              <a:ext uri="{FF2B5EF4-FFF2-40B4-BE49-F238E27FC236}">
                <a16:creationId xmlns:a16="http://schemas.microsoft.com/office/drawing/2014/main" id="{502ED91A-4C9B-FD70-159D-1CCBD4338C97}"/>
              </a:ext>
            </a:extLst>
          </p:cNvPr>
          <p:cNvGrpSpPr/>
          <p:nvPr/>
        </p:nvGrpSpPr>
        <p:grpSpPr>
          <a:xfrm>
            <a:off x="443327" y="4158464"/>
            <a:ext cx="576263" cy="432000"/>
            <a:chOff x="442914" y="2538569"/>
            <a:chExt cx="576263" cy="432000"/>
          </a:xfrm>
        </p:grpSpPr>
        <p:sp>
          <p:nvSpPr>
            <p:cNvPr id="112" name="Rectangle 111">
              <a:extLst>
                <a:ext uri="{FF2B5EF4-FFF2-40B4-BE49-F238E27FC236}">
                  <a16:creationId xmlns:a16="http://schemas.microsoft.com/office/drawing/2014/main" id="{E31BA883-F6BD-B3BC-8CBF-7ADFC7E93CFB}"/>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13" name="L-Shape 112">
              <a:extLst>
                <a:ext uri="{FF2B5EF4-FFF2-40B4-BE49-F238E27FC236}">
                  <a16:creationId xmlns:a16="http://schemas.microsoft.com/office/drawing/2014/main" id="{1AE30C01-BF17-8CC0-F5FC-C21F6338C414}"/>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114" name="Group 113">
            <a:extLst>
              <a:ext uri="{FF2B5EF4-FFF2-40B4-BE49-F238E27FC236}">
                <a16:creationId xmlns:a16="http://schemas.microsoft.com/office/drawing/2014/main" id="{8B8173BE-C28A-0898-DF16-FC9A47CF51C4}"/>
              </a:ext>
            </a:extLst>
          </p:cNvPr>
          <p:cNvGrpSpPr/>
          <p:nvPr/>
        </p:nvGrpSpPr>
        <p:grpSpPr>
          <a:xfrm>
            <a:off x="443327" y="4674429"/>
            <a:ext cx="576263" cy="432000"/>
            <a:chOff x="442914" y="2538569"/>
            <a:chExt cx="576263" cy="432000"/>
          </a:xfrm>
        </p:grpSpPr>
        <p:sp>
          <p:nvSpPr>
            <p:cNvPr id="115" name="Rectangle 114">
              <a:extLst>
                <a:ext uri="{FF2B5EF4-FFF2-40B4-BE49-F238E27FC236}">
                  <a16:creationId xmlns:a16="http://schemas.microsoft.com/office/drawing/2014/main" id="{7857A1FC-03F4-98E4-851B-52289A146349}"/>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16" name="L-Shape 115">
              <a:extLst>
                <a:ext uri="{FF2B5EF4-FFF2-40B4-BE49-F238E27FC236}">
                  <a16:creationId xmlns:a16="http://schemas.microsoft.com/office/drawing/2014/main" id="{97FE68AC-A0D2-B92B-1D22-0E4624791084}"/>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117" name="Straight Connector 116">
            <a:extLst>
              <a:ext uri="{FF2B5EF4-FFF2-40B4-BE49-F238E27FC236}">
                <a16:creationId xmlns:a16="http://schemas.microsoft.com/office/drawing/2014/main" id="{4E962165-1BF1-CAC2-12C8-B773E68BF629}"/>
              </a:ext>
            </a:extLst>
          </p:cNvPr>
          <p:cNvCxnSpPr>
            <a:cxnSpLocks/>
          </p:cNvCxnSpPr>
          <p:nvPr/>
        </p:nvCxnSpPr>
        <p:spPr>
          <a:xfrm>
            <a:off x="1103913" y="5698660"/>
            <a:ext cx="481488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18" name="Rectangle 117">
            <a:extLst>
              <a:ext uri="{FF2B5EF4-FFF2-40B4-BE49-F238E27FC236}">
                <a16:creationId xmlns:a16="http://schemas.microsoft.com/office/drawing/2014/main" id="{F391AE34-26B2-E068-5C23-D096ADFFE23C}"/>
              </a:ext>
            </a:extLst>
          </p:cNvPr>
          <p:cNvSpPr/>
          <p:nvPr/>
        </p:nvSpPr>
        <p:spPr>
          <a:xfrm>
            <a:off x="1104100" y="5742362"/>
            <a:ext cx="48147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a:solidFill>
                  <a:srgbClr val="212529"/>
                </a:solidFill>
              </a:rPr>
              <a:t>Keep up to date with information from the relevant authorities on potential risks and protective measures.</a:t>
            </a:r>
          </a:p>
        </p:txBody>
      </p:sp>
      <p:grpSp>
        <p:nvGrpSpPr>
          <p:cNvPr id="119" name="Group 118">
            <a:extLst>
              <a:ext uri="{FF2B5EF4-FFF2-40B4-BE49-F238E27FC236}">
                <a16:creationId xmlns:a16="http://schemas.microsoft.com/office/drawing/2014/main" id="{F9F2FF3C-4E6B-3063-FA73-7E5277467C20}"/>
              </a:ext>
            </a:extLst>
          </p:cNvPr>
          <p:cNvGrpSpPr/>
          <p:nvPr/>
        </p:nvGrpSpPr>
        <p:grpSpPr>
          <a:xfrm>
            <a:off x="443327" y="5742362"/>
            <a:ext cx="576263" cy="432000"/>
            <a:chOff x="442914" y="2538569"/>
            <a:chExt cx="576263" cy="432000"/>
          </a:xfrm>
        </p:grpSpPr>
        <p:sp>
          <p:nvSpPr>
            <p:cNvPr id="120" name="Rectangle 119">
              <a:extLst>
                <a:ext uri="{FF2B5EF4-FFF2-40B4-BE49-F238E27FC236}">
                  <a16:creationId xmlns:a16="http://schemas.microsoft.com/office/drawing/2014/main" id="{C693585A-A05A-6EBA-28D9-15BC02A40C13}"/>
                </a:ext>
              </a:extLst>
            </p:cNvPr>
            <p:cNvSpPr/>
            <p:nvPr/>
          </p:nvSpPr>
          <p:spPr>
            <a:xfrm>
              <a:off x="442914" y="2538569"/>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24" name="L-Shape 123">
              <a:extLst>
                <a:ext uri="{FF2B5EF4-FFF2-40B4-BE49-F238E27FC236}">
                  <a16:creationId xmlns:a16="http://schemas.microsoft.com/office/drawing/2014/main" id="{6C7EEEC5-045F-2484-BECE-7A0F21D408BE}"/>
                </a:ext>
              </a:extLst>
            </p:cNvPr>
            <p:cNvSpPr/>
            <p:nvPr/>
          </p:nvSpPr>
          <p:spPr>
            <a:xfrm rot="13500000">
              <a:off x="559308" y="26181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 name="Group 7">
            <a:extLst>
              <a:ext uri="{FF2B5EF4-FFF2-40B4-BE49-F238E27FC236}">
                <a16:creationId xmlns:a16="http://schemas.microsoft.com/office/drawing/2014/main" id="{75F5317B-2907-F645-8A54-265859CE35F7}"/>
              </a:ext>
            </a:extLst>
          </p:cNvPr>
          <p:cNvGrpSpPr/>
          <p:nvPr/>
        </p:nvGrpSpPr>
        <p:grpSpPr>
          <a:xfrm>
            <a:off x="8844369" y="159786"/>
            <a:ext cx="2904719" cy="220267"/>
            <a:chOff x="8844369" y="159786"/>
            <a:chExt cx="2904719" cy="220267"/>
          </a:xfrm>
        </p:grpSpPr>
        <p:sp>
          <p:nvSpPr>
            <p:cNvPr id="14" name="Rectangle 13">
              <a:extLst>
                <a:ext uri="{FF2B5EF4-FFF2-40B4-BE49-F238E27FC236}">
                  <a16:creationId xmlns:a16="http://schemas.microsoft.com/office/drawing/2014/main" id="{480104E4-A8C0-8F8A-D506-CE6F1972EA4B}"/>
                </a:ext>
              </a:extLst>
            </p:cNvPr>
            <p:cNvSpPr/>
            <p:nvPr/>
          </p:nvSpPr>
          <p:spPr>
            <a:xfrm>
              <a:off x="9327597" y="159786"/>
              <a:ext cx="2179876"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Anthropogenic disasters</a:t>
              </a:r>
              <a:endParaRPr kumimoji="0" lang="en-US" sz="800" b="1" i="0" u="none" strike="noStrike" kern="0" cap="none" spc="0" normalizeH="0" baseline="0" dirty="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3235F84E-C536-E771-3F99-53AC918BCA42}"/>
                </a:ext>
              </a:extLst>
            </p:cNvPr>
            <p:cNvSpPr/>
            <p:nvPr/>
          </p:nvSpPr>
          <p:spPr>
            <a:xfrm>
              <a:off x="9085983"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D08ADAED-AD45-4752-B370-F708EB8CC2F7}"/>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21CF3848-474B-C510-D4E8-FB6DF41C8C9B}"/>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4838467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110B235-F955-EA3B-FC0E-F99459354174}"/>
              </a:ext>
            </a:extLst>
          </p:cNvPr>
          <p:cNvSpPr/>
          <p:nvPr/>
        </p:nvSpPr>
        <p:spPr>
          <a:xfrm>
            <a:off x="7196940" y="1819275"/>
            <a:ext cx="3904149"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If you are in a car:</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Radiation accidents</a:t>
            </a:r>
            <a:br>
              <a:rPr lang="lv-LV"/>
            </a:br>
            <a:r>
              <a:rPr lang="en-gb">
                <a:solidFill>
                  <a:srgbClr val="A8192D"/>
                </a:solidFill>
              </a:rPr>
              <a:t>How to proceed? (4/4)</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7</a:t>
            </a:fld>
            <a:endParaRPr lang="en-GB"/>
          </a:p>
        </p:txBody>
      </p:sp>
      <p:sp>
        <p:nvSpPr>
          <p:cNvPr id="9" name="Rectangle 8">
            <a:extLst>
              <a:ext uri="{FF2B5EF4-FFF2-40B4-BE49-F238E27FC236}">
                <a16:creationId xmlns:a16="http://schemas.microsoft.com/office/drawing/2014/main" id="{1E6D5DC2-11CC-0E32-FD1E-5E930DBDAF6F}"/>
              </a:ext>
            </a:extLst>
          </p:cNvPr>
          <p:cNvSpPr/>
          <p:nvPr/>
        </p:nvSpPr>
        <p:spPr>
          <a:xfrm>
            <a:off x="442913" y="1819275"/>
            <a:ext cx="5764296"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If you are in a building:</a:t>
            </a:r>
          </a:p>
        </p:txBody>
      </p:sp>
      <p:sp>
        <p:nvSpPr>
          <p:cNvPr id="10" name="Rectangle 9">
            <a:extLst>
              <a:ext uri="{FF2B5EF4-FFF2-40B4-BE49-F238E27FC236}">
                <a16:creationId xmlns:a16="http://schemas.microsoft.com/office/drawing/2014/main" id="{09A66239-710D-C797-94B6-F20E65399ECA}"/>
              </a:ext>
            </a:extLst>
          </p:cNvPr>
          <p:cNvSpPr/>
          <p:nvPr/>
        </p:nvSpPr>
        <p:spPr>
          <a:xfrm>
            <a:off x="1107650" y="2538660"/>
            <a:ext cx="5732101"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Do not leave the building.</a:t>
            </a:r>
          </a:p>
        </p:txBody>
      </p:sp>
      <p:grpSp>
        <p:nvGrpSpPr>
          <p:cNvPr id="42" name="Group 41">
            <a:extLst>
              <a:ext uri="{FF2B5EF4-FFF2-40B4-BE49-F238E27FC236}">
                <a16:creationId xmlns:a16="http://schemas.microsoft.com/office/drawing/2014/main" id="{AEBC2CC2-6479-BC8A-6274-6947F4E36D1B}"/>
              </a:ext>
            </a:extLst>
          </p:cNvPr>
          <p:cNvGrpSpPr/>
          <p:nvPr/>
        </p:nvGrpSpPr>
        <p:grpSpPr>
          <a:xfrm>
            <a:off x="442913" y="2538660"/>
            <a:ext cx="576263" cy="432000"/>
            <a:chOff x="442913" y="2538660"/>
            <a:chExt cx="576263" cy="432000"/>
          </a:xfrm>
        </p:grpSpPr>
        <p:sp>
          <p:nvSpPr>
            <p:cNvPr id="11" name="Rectangle 10">
              <a:extLst>
                <a:ext uri="{FF2B5EF4-FFF2-40B4-BE49-F238E27FC236}">
                  <a16:creationId xmlns:a16="http://schemas.microsoft.com/office/drawing/2014/main" id="{DF44B9F5-A23A-A199-5024-09C0BB98E9FD}"/>
                </a:ext>
              </a:extLst>
            </p:cNvPr>
            <p:cNvSpPr/>
            <p:nvPr/>
          </p:nvSpPr>
          <p:spPr>
            <a:xfrm>
              <a:off x="442913"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3" name="L-Shape 12">
              <a:extLst>
                <a:ext uri="{FF2B5EF4-FFF2-40B4-BE49-F238E27FC236}">
                  <a16:creationId xmlns:a16="http://schemas.microsoft.com/office/drawing/2014/main" id="{E00438AE-81BF-47E9-E73D-4727037CE6F2}"/>
                </a:ext>
              </a:extLst>
            </p:cNvPr>
            <p:cNvSpPr/>
            <p:nvPr/>
          </p:nvSpPr>
          <p:spPr>
            <a:xfrm rot="13500000">
              <a:off x="559307"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14" name="Straight Connector 13">
            <a:extLst>
              <a:ext uri="{FF2B5EF4-FFF2-40B4-BE49-F238E27FC236}">
                <a16:creationId xmlns:a16="http://schemas.microsoft.com/office/drawing/2014/main" id="{A736938D-F235-47FD-D36B-86BAEE410CD3}"/>
              </a:ext>
            </a:extLst>
          </p:cNvPr>
          <p:cNvCxnSpPr>
            <a:cxnSpLocks/>
          </p:cNvCxnSpPr>
          <p:nvPr/>
        </p:nvCxnSpPr>
        <p:spPr>
          <a:xfrm>
            <a:off x="1108075" y="4395848"/>
            <a:ext cx="5732463"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5" name="Rectangle 14">
            <a:extLst>
              <a:ext uri="{FF2B5EF4-FFF2-40B4-BE49-F238E27FC236}">
                <a16:creationId xmlns:a16="http://schemas.microsoft.com/office/drawing/2014/main" id="{341523F5-B6D8-110E-BD6D-466F42BD4636}"/>
              </a:ext>
            </a:extLst>
          </p:cNvPr>
          <p:cNvSpPr/>
          <p:nvPr/>
        </p:nvSpPr>
        <p:spPr>
          <a:xfrm>
            <a:off x="6279208" y="1814194"/>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16" name="Rectangle 15">
            <a:extLst>
              <a:ext uri="{FF2B5EF4-FFF2-40B4-BE49-F238E27FC236}">
                <a16:creationId xmlns:a16="http://schemas.microsoft.com/office/drawing/2014/main" id="{8B99A8E4-64B4-4B4E-9D60-2E884C7E67F2}"/>
              </a:ext>
            </a:extLst>
          </p:cNvPr>
          <p:cNvSpPr/>
          <p:nvPr/>
        </p:nvSpPr>
        <p:spPr>
          <a:xfrm>
            <a:off x="6208320" y="1814194"/>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17" name="Straight Connector 16">
            <a:extLst>
              <a:ext uri="{FF2B5EF4-FFF2-40B4-BE49-F238E27FC236}">
                <a16:creationId xmlns:a16="http://schemas.microsoft.com/office/drawing/2014/main" id="{73DA4EAD-162E-F387-1E89-ABE8D2E43A2D}"/>
              </a:ext>
            </a:extLst>
          </p:cNvPr>
          <p:cNvCxnSpPr>
            <a:cxnSpLocks/>
          </p:cNvCxnSpPr>
          <p:nvPr/>
        </p:nvCxnSpPr>
        <p:spPr>
          <a:xfrm>
            <a:off x="1108075" y="3591963"/>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8" name="Straight Connector 17">
            <a:extLst>
              <a:ext uri="{FF2B5EF4-FFF2-40B4-BE49-F238E27FC236}">
                <a16:creationId xmlns:a16="http://schemas.microsoft.com/office/drawing/2014/main" id="{313D54A1-0344-1EC5-3B59-D2AD1FED901F}"/>
              </a:ext>
            </a:extLst>
          </p:cNvPr>
          <p:cNvCxnSpPr>
            <a:cxnSpLocks/>
          </p:cNvCxnSpPr>
          <p:nvPr/>
        </p:nvCxnSpPr>
        <p:spPr>
          <a:xfrm>
            <a:off x="1108075" y="3031069"/>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9" name="Straight Connector 18">
            <a:extLst>
              <a:ext uri="{FF2B5EF4-FFF2-40B4-BE49-F238E27FC236}">
                <a16:creationId xmlns:a16="http://schemas.microsoft.com/office/drawing/2014/main" id="{66D06255-7186-060D-F914-CECA2180FF5C}"/>
              </a:ext>
            </a:extLst>
          </p:cNvPr>
          <p:cNvCxnSpPr>
            <a:cxnSpLocks/>
          </p:cNvCxnSpPr>
          <p:nvPr/>
        </p:nvCxnSpPr>
        <p:spPr>
          <a:xfrm>
            <a:off x="1108075" y="4950054"/>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 name="Rectangle 19">
            <a:extLst>
              <a:ext uri="{FF2B5EF4-FFF2-40B4-BE49-F238E27FC236}">
                <a16:creationId xmlns:a16="http://schemas.microsoft.com/office/drawing/2014/main" id="{817A0D4C-D58E-C90E-2076-D2CAE458DB07}"/>
              </a:ext>
            </a:extLst>
          </p:cNvPr>
          <p:cNvSpPr/>
          <p:nvPr/>
        </p:nvSpPr>
        <p:spPr>
          <a:xfrm>
            <a:off x="1107651" y="3099754"/>
            <a:ext cx="57321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Close external doors, internal doors, windows and all possible openings to prevent outside air from entering.</a:t>
            </a:r>
          </a:p>
        </p:txBody>
      </p:sp>
      <p:grpSp>
        <p:nvGrpSpPr>
          <p:cNvPr id="41" name="Group 40">
            <a:extLst>
              <a:ext uri="{FF2B5EF4-FFF2-40B4-BE49-F238E27FC236}">
                <a16:creationId xmlns:a16="http://schemas.microsoft.com/office/drawing/2014/main" id="{4E4BE9E1-6062-2B0E-5809-D109D33F4F7E}"/>
              </a:ext>
            </a:extLst>
          </p:cNvPr>
          <p:cNvGrpSpPr/>
          <p:nvPr/>
        </p:nvGrpSpPr>
        <p:grpSpPr>
          <a:xfrm>
            <a:off x="442913" y="3098376"/>
            <a:ext cx="576263" cy="431800"/>
            <a:chOff x="442913" y="3109159"/>
            <a:chExt cx="576263" cy="431800"/>
          </a:xfrm>
        </p:grpSpPr>
        <p:sp>
          <p:nvSpPr>
            <p:cNvPr id="25" name="Rectangle 24">
              <a:extLst>
                <a:ext uri="{FF2B5EF4-FFF2-40B4-BE49-F238E27FC236}">
                  <a16:creationId xmlns:a16="http://schemas.microsoft.com/office/drawing/2014/main" id="{65252F37-AAFD-36B4-8412-49AED4BC1668}"/>
                </a:ext>
              </a:extLst>
            </p:cNvPr>
            <p:cNvSpPr/>
            <p:nvPr/>
          </p:nvSpPr>
          <p:spPr>
            <a:xfrm>
              <a:off x="442913" y="3109159"/>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6" name="L-Shape 25">
              <a:extLst>
                <a:ext uri="{FF2B5EF4-FFF2-40B4-BE49-F238E27FC236}">
                  <a16:creationId xmlns:a16="http://schemas.microsoft.com/office/drawing/2014/main" id="{76CA692F-E46D-56C4-660A-DE2961DD0DC0}"/>
                </a:ext>
              </a:extLst>
            </p:cNvPr>
            <p:cNvSpPr/>
            <p:nvPr/>
          </p:nvSpPr>
          <p:spPr>
            <a:xfrm rot="13500000">
              <a:off x="559307" y="318867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21" name="Rectangle 20">
            <a:extLst>
              <a:ext uri="{FF2B5EF4-FFF2-40B4-BE49-F238E27FC236}">
                <a16:creationId xmlns:a16="http://schemas.microsoft.com/office/drawing/2014/main" id="{8E7FE903-AF5E-C170-6243-035D5D1DF699}"/>
              </a:ext>
            </a:extLst>
          </p:cNvPr>
          <p:cNvSpPr/>
          <p:nvPr/>
        </p:nvSpPr>
        <p:spPr>
          <a:xfrm>
            <a:off x="1107651" y="3660648"/>
            <a:ext cx="5732101" cy="67479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Close or turn off ventilation, air conditioners, seal openings for extractor fans in kitchens, bathrooms and other rooms with adhesive tape, cling film or aluminium foil.</a:t>
            </a:r>
          </a:p>
        </p:txBody>
      </p:sp>
      <p:grpSp>
        <p:nvGrpSpPr>
          <p:cNvPr id="36" name="Group 35">
            <a:extLst>
              <a:ext uri="{FF2B5EF4-FFF2-40B4-BE49-F238E27FC236}">
                <a16:creationId xmlns:a16="http://schemas.microsoft.com/office/drawing/2014/main" id="{32ABF038-72C6-8232-21FC-20ABF3EA2473}"/>
              </a:ext>
            </a:extLst>
          </p:cNvPr>
          <p:cNvGrpSpPr/>
          <p:nvPr/>
        </p:nvGrpSpPr>
        <p:grpSpPr>
          <a:xfrm>
            <a:off x="442913" y="3657892"/>
            <a:ext cx="576263" cy="674791"/>
            <a:chOff x="442913" y="3641564"/>
            <a:chExt cx="576263" cy="674791"/>
          </a:xfrm>
        </p:grpSpPr>
        <p:sp>
          <p:nvSpPr>
            <p:cNvPr id="27" name="Rectangle 26">
              <a:extLst>
                <a:ext uri="{FF2B5EF4-FFF2-40B4-BE49-F238E27FC236}">
                  <a16:creationId xmlns:a16="http://schemas.microsoft.com/office/drawing/2014/main" id="{C3904226-BC52-7EEB-17E4-9D5BBA060485}"/>
                </a:ext>
              </a:extLst>
            </p:cNvPr>
            <p:cNvSpPr/>
            <p:nvPr/>
          </p:nvSpPr>
          <p:spPr>
            <a:xfrm>
              <a:off x="442913" y="3641564"/>
              <a:ext cx="576263" cy="67479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8" name="L-Shape 27">
              <a:extLst>
                <a:ext uri="{FF2B5EF4-FFF2-40B4-BE49-F238E27FC236}">
                  <a16:creationId xmlns:a16="http://schemas.microsoft.com/office/drawing/2014/main" id="{F34ED5F3-692C-B7A2-E174-CC13B6AE02CB}"/>
                </a:ext>
              </a:extLst>
            </p:cNvPr>
            <p:cNvSpPr/>
            <p:nvPr/>
          </p:nvSpPr>
          <p:spPr>
            <a:xfrm rot="13500000">
              <a:off x="559307" y="384257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22" name="Rectangle 21">
            <a:extLst>
              <a:ext uri="{FF2B5EF4-FFF2-40B4-BE49-F238E27FC236}">
                <a16:creationId xmlns:a16="http://schemas.microsoft.com/office/drawing/2014/main" id="{3175BAF5-8B83-02AB-BA0E-05A959B921B4}"/>
              </a:ext>
            </a:extLst>
          </p:cNvPr>
          <p:cNvSpPr/>
          <p:nvPr/>
        </p:nvSpPr>
        <p:spPr>
          <a:xfrm>
            <a:off x="1107651" y="4457845"/>
            <a:ext cx="5732101"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Keep up to date with information from the relevant authorities on potential risks and protective measures.</a:t>
            </a:r>
          </a:p>
        </p:txBody>
      </p:sp>
      <p:grpSp>
        <p:nvGrpSpPr>
          <p:cNvPr id="40" name="Group 39">
            <a:extLst>
              <a:ext uri="{FF2B5EF4-FFF2-40B4-BE49-F238E27FC236}">
                <a16:creationId xmlns:a16="http://schemas.microsoft.com/office/drawing/2014/main" id="{88CFA299-94FF-56D6-8075-8A8CD53EF270}"/>
              </a:ext>
            </a:extLst>
          </p:cNvPr>
          <p:cNvGrpSpPr/>
          <p:nvPr/>
        </p:nvGrpSpPr>
        <p:grpSpPr>
          <a:xfrm>
            <a:off x="442913" y="4460399"/>
            <a:ext cx="576263" cy="432000"/>
            <a:chOff x="442913" y="4601700"/>
            <a:chExt cx="576263" cy="432000"/>
          </a:xfrm>
        </p:grpSpPr>
        <p:sp>
          <p:nvSpPr>
            <p:cNvPr id="29" name="Rectangle 28">
              <a:extLst>
                <a:ext uri="{FF2B5EF4-FFF2-40B4-BE49-F238E27FC236}">
                  <a16:creationId xmlns:a16="http://schemas.microsoft.com/office/drawing/2014/main" id="{513B3D2D-CE2B-998E-5C33-317F744DFD24}"/>
                </a:ext>
              </a:extLst>
            </p:cNvPr>
            <p:cNvSpPr/>
            <p:nvPr/>
          </p:nvSpPr>
          <p:spPr>
            <a:xfrm>
              <a:off x="442913" y="460170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0" name="L-Shape 29">
              <a:extLst>
                <a:ext uri="{FF2B5EF4-FFF2-40B4-BE49-F238E27FC236}">
                  <a16:creationId xmlns:a16="http://schemas.microsoft.com/office/drawing/2014/main" id="{12F3126A-C10D-8AD3-0992-976DE7E7725B}"/>
                </a:ext>
              </a:extLst>
            </p:cNvPr>
            <p:cNvSpPr/>
            <p:nvPr/>
          </p:nvSpPr>
          <p:spPr>
            <a:xfrm rot="13500000">
              <a:off x="559307" y="46813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24" name="Rectangle 23">
            <a:extLst>
              <a:ext uri="{FF2B5EF4-FFF2-40B4-BE49-F238E27FC236}">
                <a16:creationId xmlns:a16="http://schemas.microsoft.com/office/drawing/2014/main" id="{0FFE8E1F-D4A6-4A00-83F0-7BA72605D4CF}"/>
              </a:ext>
            </a:extLst>
          </p:cNvPr>
          <p:cNvSpPr/>
          <p:nvPr/>
        </p:nvSpPr>
        <p:spPr>
          <a:xfrm>
            <a:off x="1107651" y="5018739"/>
            <a:ext cx="5732101" cy="432001"/>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Keep a supply of drinking water in closed containers. Use food and water in packets or stored indoors.</a:t>
            </a:r>
          </a:p>
        </p:txBody>
      </p:sp>
      <p:grpSp>
        <p:nvGrpSpPr>
          <p:cNvPr id="37" name="Group 36">
            <a:extLst>
              <a:ext uri="{FF2B5EF4-FFF2-40B4-BE49-F238E27FC236}">
                <a16:creationId xmlns:a16="http://schemas.microsoft.com/office/drawing/2014/main" id="{28DD4DB9-4744-D694-58A6-2278F9ED1160}"/>
              </a:ext>
            </a:extLst>
          </p:cNvPr>
          <p:cNvGrpSpPr/>
          <p:nvPr/>
        </p:nvGrpSpPr>
        <p:grpSpPr>
          <a:xfrm>
            <a:off x="442913" y="5020115"/>
            <a:ext cx="576263" cy="432000"/>
            <a:chOff x="442913" y="5170950"/>
            <a:chExt cx="576263" cy="432000"/>
          </a:xfrm>
        </p:grpSpPr>
        <p:sp>
          <p:nvSpPr>
            <p:cNvPr id="31" name="Rectangle 30">
              <a:extLst>
                <a:ext uri="{FF2B5EF4-FFF2-40B4-BE49-F238E27FC236}">
                  <a16:creationId xmlns:a16="http://schemas.microsoft.com/office/drawing/2014/main" id="{81AADF20-6B15-BD93-E6FB-FE22A6F5C8F1}"/>
                </a:ext>
              </a:extLst>
            </p:cNvPr>
            <p:cNvSpPr/>
            <p:nvPr/>
          </p:nvSpPr>
          <p:spPr>
            <a:xfrm>
              <a:off x="442913" y="517095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2" name="L-Shape 31">
              <a:extLst>
                <a:ext uri="{FF2B5EF4-FFF2-40B4-BE49-F238E27FC236}">
                  <a16:creationId xmlns:a16="http://schemas.microsoft.com/office/drawing/2014/main" id="{08F92877-4A88-FDFC-73C4-1CBAE3805A1C}"/>
                </a:ext>
              </a:extLst>
            </p:cNvPr>
            <p:cNvSpPr/>
            <p:nvPr/>
          </p:nvSpPr>
          <p:spPr>
            <a:xfrm rot="13500000">
              <a:off x="559307" y="525056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3" name="Rectangle 2">
            <a:extLst>
              <a:ext uri="{FF2B5EF4-FFF2-40B4-BE49-F238E27FC236}">
                <a16:creationId xmlns:a16="http://schemas.microsoft.com/office/drawing/2014/main" id="{9DFCB2BB-7533-8AA1-1812-6910810F684C}"/>
              </a:ext>
            </a:extLst>
          </p:cNvPr>
          <p:cNvSpPr/>
          <p:nvPr/>
        </p:nvSpPr>
        <p:spPr>
          <a:xfrm>
            <a:off x="1107651" y="5579833"/>
            <a:ext cx="5732101" cy="592367"/>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Prepare respiratory protective equipment - face coverings, respirators, gas masks, clothing made of dense fabrics, gowns, </a:t>
            </a:r>
            <a:br>
              <a:rPr lang="en-US" sz="1200" b="0" i="0">
                <a:solidFill>
                  <a:srgbClr val="212529"/>
                </a:solidFill>
                <a:effectLst/>
              </a:rPr>
            </a:br>
            <a:r>
              <a:rPr lang="en-gb" sz="1200" b="0" i="0">
                <a:solidFill>
                  <a:srgbClr val="212529"/>
                </a:solidFill>
                <a:effectLst/>
              </a:rPr>
              <a:t>gloves, boots.</a:t>
            </a:r>
          </a:p>
        </p:txBody>
      </p:sp>
      <p:grpSp>
        <p:nvGrpSpPr>
          <p:cNvPr id="39" name="Group 38">
            <a:extLst>
              <a:ext uri="{FF2B5EF4-FFF2-40B4-BE49-F238E27FC236}">
                <a16:creationId xmlns:a16="http://schemas.microsoft.com/office/drawing/2014/main" id="{D1C6425D-D14F-CCE3-AEB0-1F317D225660}"/>
              </a:ext>
            </a:extLst>
          </p:cNvPr>
          <p:cNvGrpSpPr/>
          <p:nvPr/>
        </p:nvGrpSpPr>
        <p:grpSpPr>
          <a:xfrm>
            <a:off x="442913" y="5579833"/>
            <a:ext cx="576263" cy="592138"/>
            <a:chOff x="442913" y="5579833"/>
            <a:chExt cx="576263" cy="592138"/>
          </a:xfrm>
        </p:grpSpPr>
        <p:sp>
          <p:nvSpPr>
            <p:cNvPr id="5" name="Rectangle 4">
              <a:extLst>
                <a:ext uri="{FF2B5EF4-FFF2-40B4-BE49-F238E27FC236}">
                  <a16:creationId xmlns:a16="http://schemas.microsoft.com/office/drawing/2014/main" id="{513E4803-37C1-64E1-5721-C207209A3CBF}"/>
                </a:ext>
              </a:extLst>
            </p:cNvPr>
            <p:cNvSpPr/>
            <p:nvPr/>
          </p:nvSpPr>
          <p:spPr>
            <a:xfrm>
              <a:off x="442913" y="5579833"/>
              <a:ext cx="576263" cy="59213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 name="L-Shape 5">
              <a:extLst>
                <a:ext uri="{FF2B5EF4-FFF2-40B4-BE49-F238E27FC236}">
                  <a16:creationId xmlns:a16="http://schemas.microsoft.com/office/drawing/2014/main" id="{6E2FB499-7E29-92E2-F550-BFE50C2BCD34}"/>
                </a:ext>
              </a:extLst>
            </p:cNvPr>
            <p:cNvSpPr/>
            <p:nvPr/>
          </p:nvSpPr>
          <p:spPr>
            <a:xfrm rot="13500000">
              <a:off x="559307" y="573951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38" name="Straight Connector 37">
            <a:extLst>
              <a:ext uri="{FF2B5EF4-FFF2-40B4-BE49-F238E27FC236}">
                <a16:creationId xmlns:a16="http://schemas.microsoft.com/office/drawing/2014/main" id="{1F95807D-C34F-BA62-E99D-82ED27DD62C5}"/>
              </a:ext>
            </a:extLst>
          </p:cNvPr>
          <p:cNvCxnSpPr>
            <a:cxnSpLocks/>
          </p:cNvCxnSpPr>
          <p:nvPr/>
        </p:nvCxnSpPr>
        <p:spPr>
          <a:xfrm>
            <a:off x="1108075" y="5511149"/>
            <a:ext cx="5732463" cy="827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D697A073-4B67-4447-043A-F93B67624135}"/>
              </a:ext>
            </a:extLst>
          </p:cNvPr>
          <p:cNvSpPr/>
          <p:nvPr/>
        </p:nvSpPr>
        <p:spPr>
          <a:xfrm>
            <a:off x="7844941" y="2538660"/>
            <a:ext cx="3904148"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Stop and seek shelter in a building.</a:t>
            </a:r>
          </a:p>
        </p:txBody>
      </p:sp>
      <p:sp>
        <p:nvSpPr>
          <p:cNvPr id="48" name="Rectangle 47">
            <a:extLst>
              <a:ext uri="{FF2B5EF4-FFF2-40B4-BE49-F238E27FC236}">
                <a16:creationId xmlns:a16="http://schemas.microsoft.com/office/drawing/2014/main" id="{67C26A5B-990D-36CA-DC15-B81F58F484FA}"/>
              </a:ext>
            </a:extLst>
          </p:cNvPr>
          <p:cNvSpPr/>
          <p:nvPr/>
        </p:nvSpPr>
        <p:spPr>
          <a:xfrm>
            <a:off x="7189666" y="2538660"/>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9" name="L-Shape 48">
            <a:extLst>
              <a:ext uri="{FF2B5EF4-FFF2-40B4-BE49-F238E27FC236}">
                <a16:creationId xmlns:a16="http://schemas.microsoft.com/office/drawing/2014/main" id="{DC519A94-585B-76F0-4147-1A5C643A6083}"/>
              </a:ext>
            </a:extLst>
          </p:cNvPr>
          <p:cNvSpPr/>
          <p:nvPr/>
        </p:nvSpPr>
        <p:spPr>
          <a:xfrm rot="13500000">
            <a:off x="7306060" y="261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50" name="Straight Connector 49">
            <a:extLst>
              <a:ext uri="{FF2B5EF4-FFF2-40B4-BE49-F238E27FC236}">
                <a16:creationId xmlns:a16="http://schemas.microsoft.com/office/drawing/2014/main" id="{2E25A791-72D3-E3CA-C1AC-AD2AF6CDF088}"/>
              </a:ext>
            </a:extLst>
          </p:cNvPr>
          <p:cNvCxnSpPr>
            <a:cxnSpLocks/>
          </p:cNvCxnSpPr>
          <p:nvPr/>
        </p:nvCxnSpPr>
        <p:spPr>
          <a:xfrm>
            <a:off x="7861300" y="3037446"/>
            <a:ext cx="3888208"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51" name="Rectangle 50">
            <a:extLst>
              <a:ext uri="{FF2B5EF4-FFF2-40B4-BE49-F238E27FC236}">
                <a16:creationId xmlns:a16="http://schemas.microsoft.com/office/drawing/2014/main" id="{1D9B6445-7F02-AD29-9C1C-BE7ED24A094D}"/>
              </a:ext>
            </a:extLst>
          </p:cNvPr>
          <p:cNvSpPr/>
          <p:nvPr/>
        </p:nvSpPr>
        <p:spPr>
          <a:xfrm>
            <a:off x="11173088"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52" name="Rectangle 51">
            <a:extLst>
              <a:ext uri="{FF2B5EF4-FFF2-40B4-BE49-F238E27FC236}">
                <a16:creationId xmlns:a16="http://schemas.microsoft.com/office/drawing/2014/main" id="{1BE86892-4D0A-D5EF-2C31-083B961D6FA7}"/>
              </a:ext>
            </a:extLst>
          </p:cNvPr>
          <p:cNvSpPr/>
          <p:nvPr/>
        </p:nvSpPr>
        <p:spPr>
          <a:xfrm>
            <a:off x="111022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4" name="Rectangle 53">
            <a:extLst>
              <a:ext uri="{FF2B5EF4-FFF2-40B4-BE49-F238E27FC236}">
                <a16:creationId xmlns:a16="http://schemas.microsoft.com/office/drawing/2014/main" id="{A1F71667-D7CD-73A1-7C5D-B210E14862AD}"/>
              </a:ext>
            </a:extLst>
          </p:cNvPr>
          <p:cNvSpPr/>
          <p:nvPr/>
        </p:nvSpPr>
        <p:spPr>
          <a:xfrm>
            <a:off x="7844941" y="3104436"/>
            <a:ext cx="3904148" cy="636387"/>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spc="-20">
                <a:solidFill>
                  <a:srgbClr val="212529"/>
                </a:solidFill>
                <a:effectLst/>
              </a:rPr>
              <a:t>If you have to stay in the car, keep the windows closed and turn off the ventilation, air conditioning and heater.</a:t>
            </a:r>
          </a:p>
        </p:txBody>
      </p:sp>
      <p:sp>
        <p:nvSpPr>
          <p:cNvPr id="55" name="Rectangle 54">
            <a:extLst>
              <a:ext uri="{FF2B5EF4-FFF2-40B4-BE49-F238E27FC236}">
                <a16:creationId xmlns:a16="http://schemas.microsoft.com/office/drawing/2014/main" id="{66A2792C-2B71-6239-D665-C7703B3883CF}"/>
              </a:ext>
            </a:extLst>
          </p:cNvPr>
          <p:cNvSpPr/>
          <p:nvPr/>
        </p:nvSpPr>
        <p:spPr>
          <a:xfrm>
            <a:off x="7189666" y="3104232"/>
            <a:ext cx="576263" cy="636133"/>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6" name="L-Shape 55">
            <a:extLst>
              <a:ext uri="{FF2B5EF4-FFF2-40B4-BE49-F238E27FC236}">
                <a16:creationId xmlns:a16="http://schemas.microsoft.com/office/drawing/2014/main" id="{FED96557-39A9-DE02-B310-DB56EBC3F516}"/>
              </a:ext>
            </a:extLst>
          </p:cNvPr>
          <p:cNvSpPr/>
          <p:nvPr/>
        </p:nvSpPr>
        <p:spPr>
          <a:xfrm rot="13500000">
            <a:off x="7306060" y="32859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84" name="Google Shape;1770;p93">
            <a:extLst>
              <a:ext uri="{FF2B5EF4-FFF2-40B4-BE49-F238E27FC236}">
                <a16:creationId xmlns:a16="http://schemas.microsoft.com/office/drawing/2014/main" id="{FFF4B9E7-0D73-4D04-B6EE-7C042B10DAEB}"/>
              </a:ext>
            </a:extLst>
          </p:cNvPr>
          <p:cNvGrpSpPr/>
          <p:nvPr/>
        </p:nvGrpSpPr>
        <p:grpSpPr>
          <a:xfrm>
            <a:off x="6423175" y="1958194"/>
            <a:ext cx="287998" cy="288000"/>
            <a:chOff x="7461366" y="2560815"/>
            <a:chExt cx="457200" cy="457200"/>
          </a:xfrm>
          <a:solidFill>
            <a:schemeClr val="bg1"/>
          </a:solidFill>
        </p:grpSpPr>
        <p:grpSp>
          <p:nvGrpSpPr>
            <p:cNvPr id="85" name="Google Shape;1771;p93">
              <a:extLst>
                <a:ext uri="{FF2B5EF4-FFF2-40B4-BE49-F238E27FC236}">
                  <a16:creationId xmlns:a16="http://schemas.microsoft.com/office/drawing/2014/main" id="{19D87289-DE85-54A6-120C-32102C7358D5}"/>
                </a:ext>
              </a:extLst>
            </p:cNvPr>
            <p:cNvGrpSpPr/>
            <p:nvPr/>
          </p:nvGrpSpPr>
          <p:grpSpPr>
            <a:xfrm>
              <a:off x="7461366" y="2560815"/>
              <a:ext cx="457200" cy="457200"/>
              <a:chOff x="7461366" y="2560815"/>
              <a:chExt cx="457200" cy="457200"/>
            </a:xfrm>
            <a:grpFill/>
          </p:grpSpPr>
          <p:sp>
            <p:nvSpPr>
              <p:cNvPr id="87" name="Google Shape;1772;p93">
                <a:extLst>
                  <a:ext uri="{FF2B5EF4-FFF2-40B4-BE49-F238E27FC236}">
                    <a16:creationId xmlns:a16="http://schemas.microsoft.com/office/drawing/2014/main" id="{70465341-44BC-C747-FB71-A5979664F034}"/>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8" name="Google Shape;1773;p93">
                <a:extLst>
                  <a:ext uri="{FF2B5EF4-FFF2-40B4-BE49-F238E27FC236}">
                    <a16:creationId xmlns:a16="http://schemas.microsoft.com/office/drawing/2014/main" id="{C098B08C-A5EB-E1DE-A35D-83EC23694E34}"/>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9" name="Google Shape;1774;p93">
                <a:extLst>
                  <a:ext uri="{FF2B5EF4-FFF2-40B4-BE49-F238E27FC236}">
                    <a16:creationId xmlns:a16="http://schemas.microsoft.com/office/drawing/2014/main" id="{5E892334-C55A-8B5F-6974-E2BFB0CE3441}"/>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0" name="Google Shape;1775;p93">
                <a:extLst>
                  <a:ext uri="{FF2B5EF4-FFF2-40B4-BE49-F238E27FC236}">
                    <a16:creationId xmlns:a16="http://schemas.microsoft.com/office/drawing/2014/main" id="{16E5E6F9-0E17-1E1E-09DA-5FDF1018EE61}"/>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86" name="Google Shape;1776;p93">
              <a:extLst>
                <a:ext uri="{FF2B5EF4-FFF2-40B4-BE49-F238E27FC236}">
                  <a16:creationId xmlns:a16="http://schemas.microsoft.com/office/drawing/2014/main" id="{F831F379-234F-C2C6-4523-89BC30299736}"/>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91" name="Google Shape;2220;p101">
            <a:extLst>
              <a:ext uri="{FF2B5EF4-FFF2-40B4-BE49-F238E27FC236}">
                <a16:creationId xmlns:a16="http://schemas.microsoft.com/office/drawing/2014/main" id="{B08A34BB-8B10-E973-7947-0F44D4A03BE7}"/>
              </a:ext>
            </a:extLst>
          </p:cNvPr>
          <p:cNvSpPr/>
          <p:nvPr/>
        </p:nvSpPr>
        <p:spPr>
          <a:xfrm>
            <a:off x="11317088" y="1963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2" name="TextBox 11">
            <a:extLst>
              <a:ext uri="{FF2B5EF4-FFF2-40B4-BE49-F238E27FC236}">
                <a16:creationId xmlns:a16="http://schemas.microsoft.com/office/drawing/2014/main" id="{AD2225FF-6AD0-8D20-923C-F49F8D519F21}"/>
              </a:ext>
            </a:extLst>
          </p:cNvPr>
          <p:cNvSpPr txBox="1"/>
          <p:nvPr/>
        </p:nvSpPr>
        <p:spPr>
          <a:xfrm>
            <a:off x="406336" y="1468020"/>
            <a:ext cx="12042378" cy="338554"/>
          </a:xfrm>
          <a:prstGeom prst="rect">
            <a:avLst/>
          </a:prstGeom>
          <a:noFill/>
        </p:spPr>
        <p:txBody>
          <a:bodyPr wrap="square" rtlCol="0">
            <a:spAutoFit/>
          </a:bodyPr>
          <a:lstStyle/>
          <a:p>
            <a:pPr rtl="0"/>
            <a:r>
              <a:rPr lang="en-gb" sz="1600" b="1">
                <a:solidFill>
                  <a:srgbClr val="A8192D"/>
                </a:solidFill>
              </a:rPr>
              <a:t>What if there is a spill in Latvia?</a:t>
            </a:r>
          </a:p>
        </p:txBody>
      </p:sp>
      <p:sp>
        <p:nvSpPr>
          <p:cNvPr id="43" name="Rectangle 42">
            <a:extLst>
              <a:ext uri="{FF2B5EF4-FFF2-40B4-BE49-F238E27FC236}">
                <a16:creationId xmlns:a16="http://schemas.microsoft.com/office/drawing/2014/main" id="{18D2847F-F060-4FEF-CF24-A5BB33ED0318}"/>
              </a:ext>
            </a:extLst>
          </p:cNvPr>
          <p:cNvSpPr/>
          <p:nvPr/>
        </p:nvSpPr>
        <p:spPr>
          <a:xfrm>
            <a:off x="7192082" y="3873937"/>
            <a:ext cx="576263" cy="229710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4" name="Rectangle 43">
            <a:extLst>
              <a:ext uri="{FF2B5EF4-FFF2-40B4-BE49-F238E27FC236}">
                <a16:creationId xmlns:a16="http://schemas.microsoft.com/office/drawing/2014/main" id="{6E5DB64D-76D7-9485-6120-7F9ECA5B43C4}"/>
              </a:ext>
            </a:extLst>
          </p:cNvPr>
          <p:cNvSpPr/>
          <p:nvPr/>
        </p:nvSpPr>
        <p:spPr>
          <a:xfrm>
            <a:off x="7765929" y="3873937"/>
            <a:ext cx="3983157" cy="229710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1" i="0" dirty="0">
                <a:solidFill>
                  <a:schemeClr val="bg1"/>
                </a:solidFill>
                <a:effectLst/>
              </a:rPr>
              <a:t>Radioactive contamination is most dangerous in the first few hours. Stay indoors if possible!</a:t>
            </a:r>
            <a:endParaRPr lang="en-US" sz="1400" b="1" i="0" dirty="0">
              <a:solidFill>
                <a:schemeClr val="bg1"/>
              </a:solidFill>
              <a:effectLst/>
            </a:endParaRPr>
          </a:p>
          <a:p>
            <a:pPr algn="l" rtl="0"/>
            <a:endParaRPr lang="lv-LV" sz="1400" b="1" i="0" dirty="0">
              <a:solidFill>
                <a:schemeClr val="bg1"/>
              </a:solidFill>
              <a:effectLst/>
            </a:endParaRPr>
          </a:p>
          <a:p>
            <a:pPr algn="l" rtl="0"/>
            <a:r>
              <a:rPr lang="en-gb" sz="1400" b="1" i="0" dirty="0">
                <a:solidFill>
                  <a:schemeClr val="bg1"/>
                </a:solidFill>
                <a:effectLst/>
              </a:rPr>
              <a:t>In rural areas, livestock must be brought indoors and feed and water sources must be sealed. Livestock must not be fed on feed stored in the open</a:t>
            </a:r>
            <a:r>
              <a:rPr lang="lv-LV" sz="1400" b="1" i="0" dirty="0">
                <a:solidFill>
                  <a:schemeClr val="bg1"/>
                </a:solidFill>
                <a:effectLst/>
              </a:rPr>
              <a:t>.</a:t>
            </a:r>
            <a:endParaRPr lang="en-gb" sz="1400" b="1" i="0" dirty="0">
              <a:solidFill>
                <a:schemeClr val="bg1"/>
              </a:solidFill>
              <a:effectLst/>
            </a:endParaRPr>
          </a:p>
        </p:txBody>
      </p:sp>
      <p:sp>
        <p:nvSpPr>
          <p:cNvPr id="46" name="L-Shape 45">
            <a:extLst>
              <a:ext uri="{FF2B5EF4-FFF2-40B4-BE49-F238E27FC236}">
                <a16:creationId xmlns:a16="http://schemas.microsoft.com/office/drawing/2014/main" id="{CD226D79-1186-ED7E-2DA2-C75F5085C313}"/>
              </a:ext>
            </a:extLst>
          </p:cNvPr>
          <p:cNvSpPr/>
          <p:nvPr/>
        </p:nvSpPr>
        <p:spPr>
          <a:xfrm rot="13500000">
            <a:off x="7318425" y="4886100"/>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23" name="Group 22">
            <a:extLst>
              <a:ext uri="{FF2B5EF4-FFF2-40B4-BE49-F238E27FC236}">
                <a16:creationId xmlns:a16="http://schemas.microsoft.com/office/drawing/2014/main" id="{5AA1FFED-D4D2-13AA-BCF0-003F04A3C2AE}"/>
              </a:ext>
            </a:extLst>
          </p:cNvPr>
          <p:cNvGrpSpPr/>
          <p:nvPr/>
        </p:nvGrpSpPr>
        <p:grpSpPr>
          <a:xfrm>
            <a:off x="8844369" y="159786"/>
            <a:ext cx="2904719" cy="220267"/>
            <a:chOff x="8844369" y="159786"/>
            <a:chExt cx="2904719" cy="220267"/>
          </a:xfrm>
        </p:grpSpPr>
        <p:sp>
          <p:nvSpPr>
            <p:cNvPr id="35" name="Rectangle 34">
              <a:extLst>
                <a:ext uri="{FF2B5EF4-FFF2-40B4-BE49-F238E27FC236}">
                  <a16:creationId xmlns:a16="http://schemas.microsoft.com/office/drawing/2014/main" id="{35A572F3-4848-C7EB-D5A6-10BE4DD7FB96}"/>
                </a:ext>
              </a:extLst>
            </p:cNvPr>
            <p:cNvSpPr/>
            <p:nvPr/>
          </p:nvSpPr>
          <p:spPr>
            <a:xfrm>
              <a:off x="9327597" y="159786"/>
              <a:ext cx="2179876"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dirty="0">
                  <a:ln>
                    <a:noFill/>
                  </a:ln>
                  <a:effectLst/>
                  <a:uLnTx/>
                  <a:uFillTx/>
                  <a:ea typeface="Georgia"/>
                  <a:cs typeface="Georgia"/>
                  <a:sym typeface="Georgia"/>
                </a:rPr>
                <a:t>Anthropogenic disasters</a:t>
              </a:r>
              <a:endParaRPr kumimoji="0" lang="en-US" sz="800" b="1" i="0" u="none" strike="noStrike" kern="0" cap="none" spc="0" normalizeH="0" baseline="0" dirty="0">
                <a:ln>
                  <a:noFill/>
                </a:ln>
                <a:effectLst/>
                <a:uLnTx/>
                <a:uFillTx/>
                <a:ea typeface="Georgia"/>
                <a:cs typeface="Georgia"/>
                <a:sym typeface="Georgia"/>
              </a:endParaRPr>
            </a:p>
          </p:txBody>
        </p:sp>
        <p:sp>
          <p:nvSpPr>
            <p:cNvPr id="53" name="Rectangle 52">
              <a:extLst>
                <a:ext uri="{FF2B5EF4-FFF2-40B4-BE49-F238E27FC236}">
                  <a16:creationId xmlns:a16="http://schemas.microsoft.com/office/drawing/2014/main" id="{7A9CCA1A-9DAD-9F24-AC6C-44D07DC1D0EA}"/>
                </a:ext>
              </a:extLst>
            </p:cNvPr>
            <p:cNvSpPr/>
            <p:nvPr/>
          </p:nvSpPr>
          <p:spPr>
            <a:xfrm>
              <a:off x="9085983"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2</a:t>
              </a:r>
              <a:endParaRPr kumimoji="0" lang="lv-LV" sz="800" b="1" i="0" u="none" strike="noStrike" kern="0" cap="none" spc="0" normalizeH="0" baseline="0">
                <a:ln>
                  <a:noFill/>
                </a:ln>
                <a:effectLst/>
                <a:uLnTx/>
                <a:uFillTx/>
                <a:ea typeface="Georgia"/>
                <a:cs typeface="Georgia"/>
                <a:sym typeface="Georgia"/>
              </a:endParaRPr>
            </a:p>
          </p:txBody>
        </p:sp>
        <p:sp>
          <p:nvSpPr>
            <p:cNvPr id="57" name="Rectangle 56">
              <a:extLst>
                <a:ext uri="{FF2B5EF4-FFF2-40B4-BE49-F238E27FC236}">
                  <a16:creationId xmlns:a16="http://schemas.microsoft.com/office/drawing/2014/main" id="{24B82DEB-E184-8373-46AB-C505B6049C82}"/>
                </a:ext>
              </a:extLst>
            </p:cNvPr>
            <p:cNvSpPr/>
            <p:nvPr/>
          </p:nvSpPr>
          <p:spPr>
            <a:xfrm>
              <a:off x="8844369" y="162565"/>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8" name="Rectangle 57">
              <a:extLst>
                <a:ext uri="{FF2B5EF4-FFF2-40B4-BE49-F238E27FC236}">
                  <a16:creationId xmlns:a16="http://schemas.microsoft.com/office/drawing/2014/main" id="{1FC3B916-32D7-84FD-9CCB-194BE41572D3}"/>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426333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FCE0E3C-012B-4F30-8D46-589FB7BDFA9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flipH="1">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893539"/>
            <a:ext cx="7418387" cy="2428875"/>
          </a:xfrm>
        </p:spPr>
        <p:txBody>
          <a:bodyPr vert="horz" rtlCol="0">
            <a:normAutofit/>
          </a:bodyPr>
          <a:lstStyle/>
          <a:p>
            <a:pPr rtl="0">
              <a:lnSpc>
                <a:spcPct val="90000"/>
              </a:lnSpc>
            </a:pPr>
            <a:r>
              <a:rPr lang="en-gb" sz="4000"/>
              <a:t>6.3</a:t>
            </a:r>
            <a:r>
              <a:rPr lang="en-gb" sz="4000">
                <a:latin typeface="+mj-lt"/>
              </a:rPr>
              <a:t>.</a:t>
            </a:r>
            <a:r>
              <a:rPr lang="en-gb" sz="4000"/>
              <a:t> Individual resilience</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3012138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7AE41A81-5DA9-3D29-3038-84D54EDD521C}"/>
              </a:ext>
            </a:extLst>
          </p:cNvPr>
          <p:cNvGraphicFramePr>
            <a:graphicFrameLocks noChangeAspect="1"/>
          </p:cNvGraphicFramePr>
          <p:nvPr>
            <p:custDataLst>
              <p:tags r:id="rId1"/>
            </p:custDataLst>
            <p:extLst>
              <p:ext uri="{D42A27DB-BD31-4B8C-83A1-F6EECF244321}">
                <p14:modId xmlns:p14="http://schemas.microsoft.com/office/powerpoint/2010/main" val="825288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1" name="think-cell data - do not delete" hidden="1">
                        <a:extLst>
                          <a:ext uri="{FF2B5EF4-FFF2-40B4-BE49-F238E27FC236}">
                            <a16:creationId xmlns:a16="http://schemas.microsoft.com/office/drawing/2014/main" id="{7AE41A81-5DA9-3D29-3038-84D54EDD52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Items and supplies needed in the event of a temporary evacuation</a:t>
            </a:r>
            <a:br>
              <a:rPr lang="lv-LV"/>
            </a:b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29</a:t>
            </a:fld>
            <a:endParaRPr lang="en-GB"/>
          </a:p>
        </p:txBody>
      </p:sp>
      <p:grpSp>
        <p:nvGrpSpPr>
          <p:cNvPr id="3" name="Group 2">
            <a:extLst>
              <a:ext uri="{FF2B5EF4-FFF2-40B4-BE49-F238E27FC236}">
                <a16:creationId xmlns:a16="http://schemas.microsoft.com/office/drawing/2014/main" id="{53A703A3-3975-F6E3-8DB1-7F94A02DBDD4}"/>
              </a:ext>
            </a:extLst>
          </p:cNvPr>
          <p:cNvGrpSpPr/>
          <p:nvPr/>
        </p:nvGrpSpPr>
        <p:grpSpPr>
          <a:xfrm>
            <a:off x="9641294" y="157007"/>
            <a:ext cx="2107794" cy="220267"/>
            <a:chOff x="9641294" y="157007"/>
            <a:chExt cx="2107794" cy="220267"/>
          </a:xfrm>
        </p:grpSpPr>
        <p:sp>
          <p:nvSpPr>
            <p:cNvPr id="4" name="Rectangle 3">
              <a:extLst>
                <a:ext uri="{FF2B5EF4-FFF2-40B4-BE49-F238E27FC236}">
                  <a16:creationId xmlns:a16="http://schemas.microsoft.com/office/drawing/2014/main" id="{7A057D5A-FB41-71BC-5F1C-4F16A5BE9ACD}"/>
                </a:ext>
              </a:extLst>
            </p:cNvPr>
            <p:cNvSpPr/>
            <p:nvPr/>
          </p:nvSpPr>
          <p:spPr>
            <a:xfrm>
              <a:off x="10366138" y="159786"/>
              <a:ext cx="138295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Individual resilience</a:t>
              </a:r>
              <a:endParaRPr kumimoji="0" lang="en-US"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16D96229-3565-0907-A705-33C828E6BA91}"/>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E8916042-AEE4-D99E-5A98-71E3E6276A8C}"/>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586B873D-124C-E8E8-8935-0CFFC59FFCBC}"/>
                </a:ext>
              </a:extLst>
            </p:cNvPr>
            <p:cNvSpPr/>
            <p:nvPr/>
          </p:nvSpPr>
          <p:spPr>
            <a:xfrm>
              <a:off x="10124522"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6.3</a:t>
              </a:r>
              <a:endParaRPr kumimoji="0" lang="lv-LV" sz="800" b="1" i="0" u="none" strike="noStrike" kern="0" cap="none" spc="0" normalizeH="0" baseline="0">
                <a:ln>
                  <a:noFill/>
                </a:ln>
                <a:effectLst/>
                <a:uLnTx/>
                <a:uFillTx/>
                <a:ea typeface="Georgia"/>
                <a:cs typeface="Georgia"/>
                <a:sym typeface="Georgia"/>
              </a:endParaRPr>
            </a:p>
          </p:txBody>
        </p:sp>
      </p:grpSp>
      <p:cxnSp>
        <p:nvCxnSpPr>
          <p:cNvPr id="7" name="Straight Connector 6">
            <a:extLst>
              <a:ext uri="{FF2B5EF4-FFF2-40B4-BE49-F238E27FC236}">
                <a16:creationId xmlns:a16="http://schemas.microsoft.com/office/drawing/2014/main" id="{85F8FCFE-E283-8D8B-37C4-0FA2ACA85E09}"/>
              </a:ext>
            </a:extLst>
          </p:cNvPr>
          <p:cNvCxnSpPr>
            <a:cxnSpLocks/>
          </p:cNvCxnSpPr>
          <p:nvPr/>
        </p:nvCxnSpPr>
        <p:spPr>
          <a:xfrm>
            <a:off x="1088884" y="3234312"/>
            <a:ext cx="482772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 name="Straight Connector 8">
            <a:extLst>
              <a:ext uri="{FF2B5EF4-FFF2-40B4-BE49-F238E27FC236}">
                <a16:creationId xmlns:a16="http://schemas.microsoft.com/office/drawing/2014/main" id="{9CFE0F3B-C5B0-7452-E45A-25AF31FE7AE2}"/>
              </a:ext>
            </a:extLst>
          </p:cNvPr>
          <p:cNvCxnSpPr>
            <a:cxnSpLocks/>
          </p:cNvCxnSpPr>
          <p:nvPr/>
        </p:nvCxnSpPr>
        <p:spPr>
          <a:xfrm>
            <a:off x="1089025" y="3997829"/>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41D157D9-7468-894F-DEA9-2F7AE6B374B7}"/>
              </a:ext>
            </a:extLst>
          </p:cNvPr>
          <p:cNvCxnSpPr>
            <a:cxnSpLocks/>
          </p:cNvCxnSpPr>
          <p:nvPr/>
        </p:nvCxnSpPr>
        <p:spPr>
          <a:xfrm>
            <a:off x="6921500" y="3234312"/>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8" name="Group 27">
            <a:extLst>
              <a:ext uri="{FF2B5EF4-FFF2-40B4-BE49-F238E27FC236}">
                <a16:creationId xmlns:a16="http://schemas.microsoft.com/office/drawing/2014/main" id="{BA6CD622-55A7-F1C5-610C-AD5D7AFA0841}"/>
              </a:ext>
            </a:extLst>
          </p:cNvPr>
          <p:cNvGrpSpPr/>
          <p:nvPr/>
        </p:nvGrpSpPr>
        <p:grpSpPr>
          <a:xfrm>
            <a:off x="442772" y="2519575"/>
            <a:ext cx="11306175" cy="665957"/>
            <a:chOff x="442772" y="2519575"/>
            <a:chExt cx="11306175" cy="665957"/>
          </a:xfrm>
        </p:grpSpPr>
        <p:sp>
          <p:nvSpPr>
            <p:cNvPr id="31" name="Rectangle 30">
              <a:extLst>
                <a:ext uri="{FF2B5EF4-FFF2-40B4-BE49-F238E27FC236}">
                  <a16:creationId xmlns:a16="http://schemas.microsoft.com/office/drawing/2014/main" id="{4F2FF167-7C7B-B9E6-3AFE-8A596E06FC6E}"/>
                </a:ext>
              </a:extLst>
            </p:cNvPr>
            <p:cNvSpPr/>
            <p:nvPr/>
          </p:nvSpPr>
          <p:spPr>
            <a:xfrm>
              <a:off x="1089469" y="2654909"/>
              <a:ext cx="482714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dirty="0">
                  <a:solidFill>
                    <a:schemeClr val="tx1"/>
                  </a:solidFill>
                </a:rPr>
                <a:t>Proof of</a:t>
              </a:r>
              <a:r>
                <a:rPr lang="lv-LV" sz="1400" dirty="0">
                  <a:solidFill>
                    <a:schemeClr val="tx1"/>
                  </a:solidFill>
                </a:rPr>
                <a:t> </a:t>
              </a:r>
              <a:r>
                <a:rPr lang="en-gb" sz="1400" b="0" i="0" dirty="0">
                  <a:solidFill>
                    <a:schemeClr val="tx1"/>
                  </a:solidFill>
                  <a:effectLst/>
                </a:rPr>
                <a:t>identity (passport, ID card)</a:t>
              </a:r>
            </a:p>
          </p:txBody>
        </p:sp>
        <p:sp>
          <p:nvSpPr>
            <p:cNvPr id="32" name="Rectangle 31">
              <a:extLst>
                <a:ext uri="{FF2B5EF4-FFF2-40B4-BE49-F238E27FC236}">
                  <a16:creationId xmlns:a16="http://schemas.microsoft.com/office/drawing/2014/main" id="{8D565256-1164-3A41-1BCA-A0CFECF31434}"/>
                </a:ext>
              </a:extLst>
            </p:cNvPr>
            <p:cNvSpPr/>
            <p:nvPr/>
          </p:nvSpPr>
          <p:spPr>
            <a:xfrm>
              <a:off x="442772" y="2519924"/>
              <a:ext cx="576263" cy="66525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33" name="L-Shape 32">
              <a:extLst>
                <a:ext uri="{FF2B5EF4-FFF2-40B4-BE49-F238E27FC236}">
                  <a16:creationId xmlns:a16="http://schemas.microsoft.com/office/drawing/2014/main" id="{FB8CB5F3-EC2E-E5ED-556D-E5EFD1D0B13C}"/>
                </a:ext>
              </a:extLst>
            </p:cNvPr>
            <p:cNvSpPr/>
            <p:nvPr/>
          </p:nvSpPr>
          <p:spPr>
            <a:xfrm rot="13500000">
              <a:off x="577581" y="2716165"/>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35" name="Rectangle 34">
              <a:extLst>
                <a:ext uri="{FF2B5EF4-FFF2-40B4-BE49-F238E27FC236}">
                  <a16:creationId xmlns:a16="http://schemas.microsoft.com/office/drawing/2014/main" id="{811931EC-6857-1B96-90C3-EBA4143A997B}"/>
                </a:ext>
              </a:extLst>
            </p:cNvPr>
            <p:cNvSpPr/>
            <p:nvPr/>
          </p:nvSpPr>
          <p:spPr>
            <a:xfrm>
              <a:off x="6922085" y="2654909"/>
              <a:ext cx="482686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dirty="0">
                  <a:solidFill>
                    <a:srgbClr val="212529"/>
                  </a:solidFill>
                </a:rPr>
                <a:t>Mobile</a:t>
              </a:r>
              <a:r>
                <a:rPr lang="lv-LV" sz="1400" dirty="0">
                  <a:solidFill>
                    <a:srgbClr val="212529"/>
                  </a:solidFill>
                </a:rPr>
                <a:t> </a:t>
              </a:r>
              <a:r>
                <a:rPr lang="en-gb" sz="1400" b="0" i="0" dirty="0">
                  <a:solidFill>
                    <a:srgbClr val="212529"/>
                  </a:solidFill>
                  <a:effectLst/>
                </a:rPr>
                <a:t>phone and charger</a:t>
              </a:r>
            </a:p>
          </p:txBody>
        </p:sp>
        <p:sp>
          <p:nvSpPr>
            <p:cNvPr id="37" name="Rectangle 36">
              <a:extLst>
                <a:ext uri="{FF2B5EF4-FFF2-40B4-BE49-F238E27FC236}">
                  <a16:creationId xmlns:a16="http://schemas.microsoft.com/office/drawing/2014/main" id="{2D51C834-187B-5F0A-FBAA-F1643F41C37B}"/>
                </a:ext>
              </a:extLst>
            </p:cNvPr>
            <p:cNvSpPr/>
            <p:nvPr/>
          </p:nvSpPr>
          <p:spPr>
            <a:xfrm>
              <a:off x="6275388" y="2519575"/>
              <a:ext cx="576263" cy="66595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39" name="L-Shape 38">
              <a:extLst>
                <a:ext uri="{FF2B5EF4-FFF2-40B4-BE49-F238E27FC236}">
                  <a16:creationId xmlns:a16="http://schemas.microsoft.com/office/drawing/2014/main" id="{5E4FBBF7-73AD-F722-B3B1-69175ACC2A39}"/>
                </a:ext>
              </a:extLst>
            </p:cNvPr>
            <p:cNvSpPr/>
            <p:nvPr/>
          </p:nvSpPr>
          <p:spPr>
            <a:xfrm rot="13500000">
              <a:off x="6410197" y="2716165"/>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grpSp>
        <p:nvGrpSpPr>
          <p:cNvPr id="27" name="Group 26">
            <a:extLst>
              <a:ext uri="{FF2B5EF4-FFF2-40B4-BE49-F238E27FC236}">
                <a16:creationId xmlns:a16="http://schemas.microsoft.com/office/drawing/2014/main" id="{68C236D8-4394-A551-F3CC-2D3105E22996}"/>
              </a:ext>
            </a:extLst>
          </p:cNvPr>
          <p:cNvGrpSpPr/>
          <p:nvPr/>
        </p:nvGrpSpPr>
        <p:grpSpPr>
          <a:xfrm>
            <a:off x="442772" y="3283092"/>
            <a:ext cx="11306175" cy="665957"/>
            <a:chOff x="442772" y="3407526"/>
            <a:chExt cx="11306175" cy="665957"/>
          </a:xfrm>
        </p:grpSpPr>
        <p:sp>
          <p:nvSpPr>
            <p:cNvPr id="10" name="Rectangle 9">
              <a:extLst>
                <a:ext uri="{FF2B5EF4-FFF2-40B4-BE49-F238E27FC236}">
                  <a16:creationId xmlns:a16="http://schemas.microsoft.com/office/drawing/2014/main" id="{51187766-79AB-3948-D828-6DE1F7A2DC7F}"/>
                </a:ext>
              </a:extLst>
            </p:cNvPr>
            <p:cNvSpPr/>
            <p:nvPr/>
          </p:nvSpPr>
          <p:spPr>
            <a:xfrm>
              <a:off x="1089469" y="3542860"/>
              <a:ext cx="482714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lv-LV" sz="1400" dirty="0" err="1">
                  <a:solidFill>
                    <a:schemeClr val="tx1"/>
                  </a:solidFill>
                </a:rPr>
                <a:t>Cash</a:t>
              </a:r>
              <a:endParaRPr lang="en-gb" sz="1400" b="0" i="0" dirty="0">
                <a:solidFill>
                  <a:schemeClr val="tx1"/>
                </a:solidFill>
                <a:effectLst/>
              </a:endParaRPr>
            </a:p>
          </p:txBody>
        </p:sp>
        <p:sp>
          <p:nvSpPr>
            <p:cNvPr id="11" name="Rectangle 10">
              <a:extLst>
                <a:ext uri="{FF2B5EF4-FFF2-40B4-BE49-F238E27FC236}">
                  <a16:creationId xmlns:a16="http://schemas.microsoft.com/office/drawing/2014/main" id="{45A3D1BB-AB8A-78FC-67E4-3110390D7C56}"/>
                </a:ext>
              </a:extLst>
            </p:cNvPr>
            <p:cNvSpPr/>
            <p:nvPr/>
          </p:nvSpPr>
          <p:spPr>
            <a:xfrm>
              <a:off x="442772" y="3407875"/>
              <a:ext cx="576263" cy="66525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12" name="L-Shape 11">
              <a:extLst>
                <a:ext uri="{FF2B5EF4-FFF2-40B4-BE49-F238E27FC236}">
                  <a16:creationId xmlns:a16="http://schemas.microsoft.com/office/drawing/2014/main" id="{F15812ED-3612-58F0-3F42-83786447EF99}"/>
                </a:ext>
              </a:extLst>
            </p:cNvPr>
            <p:cNvSpPr/>
            <p:nvPr/>
          </p:nvSpPr>
          <p:spPr>
            <a:xfrm rot="13500000">
              <a:off x="577581" y="3604116"/>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43" name="Rectangle 42">
              <a:extLst>
                <a:ext uri="{FF2B5EF4-FFF2-40B4-BE49-F238E27FC236}">
                  <a16:creationId xmlns:a16="http://schemas.microsoft.com/office/drawing/2014/main" id="{F8B22F5E-FAAC-75DF-49F4-16340651EEE9}"/>
                </a:ext>
              </a:extLst>
            </p:cNvPr>
            <p:cNvSpPr/>
            <p:nvPr/>
          </p:nvSpPr>
          <p:spPr>
            <a:xfrm>
              <a:off x="6922085" y="3542860"/>
              <a:ext cx="482686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0" i="0">
                  <a:solidFill>
                    <a:srgbClr val="212529"/>
                  </a:solidFill>
                  <a:effectLst/>
                </a:rPr>
                <a:t>Portable radio with batteries</a:t>
              </a:r>
            </a:p>
          </p:txBody>
        </p:sp>
        <p:sp>
          <p:nvSpPr>
            <p:cNvPr id="54" name="Rectangle 53">
              <a:extLst>
                <a:ext uri="{FF2B5EF4-FFF2-40B4-BE49-F238E27FC236}">
                  <a16:creationId xmlns:a16="http://schemas.microsoft.com/office/drawing/2014/main" id="{EE4D52E6-3945-607A-CD49-B0FBED36A37E}"/>
                </a:ext>
              </a:extLst>
            </p:cNvPr>
            <p:cNvSpPr/>
            <p:nvPr/>
          </p:nvSpPr>
          <p:spPr>
            <a:xfrm>
              <a:off x="6275388" y="3407526"/>
              <a:ext cx="576263" cy="66595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55" name="L-Shape 54">
              <a:extLst>
                <a:ext uri="{FF2B5EF4-FFF2-40B4-BE49-F238E27FC236}">
                  <a16:creationId xmlns:a16="http://schemas.microsoft.com/office/drawing/2014/main" id="{92AFCC23-7BBF-4DC8-B27C-CF740F20218E}"/>
                </a:ext>
              </a:extLst>
            </p:cNvPr>
            <p:cNvSpPr/>
            <p:nvPr/>
          </p:nvSpPr>
          <p:spPr>
            <a:xfrm rot="13500000">
              <a:off x="6410197" y="3604116"/>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grpSp>
      <p:grpSp>
        <p:nvGrpSpPr>
          <p:cNvPr id="26" name="Group 25">
            <a:extLst>
              <a:ext uri="{FF2B5EF4-FFF2-40B4-BE49-F238E27FC236}">
                <a16:creationId xmlns:a16="http://schemas.microsoft.com/office/drawing/2014/main" id="{C8DC9E60-F11C-EA4B-558F-ED00903892E2}"/>
              </a:ext>
            </a:extLst>
          </p:cNvPr>
          <p:cNvGrpSpPr/>
          <p:nvPr/>
        </p:nvGrpSpPr>
        <p:grpSpPr>
          <a:xfrm>
            <a:off x="442772" y="4049061"/>
            <a:ext cx="11306175" cy="665957"/>
            <a:chOff x="442772" y="4297929"/>
            <a:chExt cx="11306175" cy="665957"/>
          </a:xfrm>
        </p:grpSpPr>
        <p:sp>
          <p:nvSpPr>
            <p:cNvPr id="14" name="Rectangle 13">
              <a:extLst>
                <a:ext uri="{FF2B5EF4-FFF2-40B4-BE49-F238E27FC236}">
                  <a16:creationId xmlns:a16="http://schemas.microsoft.com/office/drawing/2014/main" id="{D8F7AE61-B751-0B6B-228E-7A418D2EC00D}"/>
                </a:ext>
              </a:extLst>
            </p:cNvPr>
            <p:cNvSpPr/>
            <p:nvPr/>
          </p:nvSpPr>
          <p:spPr>
            <a:xfrm>
              <a:off x="1089469" y="4433263"/>
              <a:ext cx="482714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dirty="0">
                  <a:solidFill>
                    <a:schemeClr val="tx1"/>
                  </a:solidFill>
                  <a:effectLst/>
                </a:rPr>
                <a:t>Bank cards</a:t>
              </a:r>
            </a:p>
          </p:txBody>
        </p:sp>
        <p:sp>
          <p:nvSpPr>
            <p:cNvPr id="22" name="Rectangle 21">
              <a:extLst>
                <a:ext uri="{FF2B5EF4-FFF2-40B4-BE49-F238E27FC236}">
                  <a16:creationId xmlns:a16="http://schemas.microsoft.com/office/drawing/2014/main" id="{F6A8C2FE-5E94-A671-A2FB-B82BA60AE593}"/>
                </a:ext>
              </a:extLst>
            </p:cNvPr>
            <p:cNvSpPr/>
            <p:nvPr/>
          </p:nvSpPr>
          <p:spPr>
            <a:xfrm>
              <a:off x="442772" y="4298278"/>
              <a:ext cx="576263" cy="66525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29" name="L-Shape 28">
              <a:extLst>
                <a:ext uri="{FF2B5EF4-FFF2-40B4-BE49-F238E27FC236}">
                  <a16:creationId xmlns:a16="http://schemas.microsoft.com/office/drawing/2014/main" id="{963CE3B2-0689-BBA9-CFCD-1725FC00718B}"/>
                </a:ext>
              </a:extLst>
            </p:cNvPr>
            <p:cNvSpPr/>
            <p:nvPr/>
          </p:nvSpPr>
          <p:spPr>
            <a:xfrm rot="13500000">
              <a:off x="577581" y="4494519"/>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57" name="Rectangle 56">
              <a:extLst>
                <a:ext uri="{FF2B5EF4-FFF2-40B4-BE49-F238E27FC236}">
                  <a16:creationId xmlns:a16="http://schemas.microsoft.com/office/drawing/2014/main" id="{E2D42F57-444E-76CB-BBCE-79669F05A24D}"/>
                </a:ext>
              </a:extLst>
            </p:cNvPr>
            <p:cNvSpPr/>
            <p:nvPr/>
          </p:nvSpPr>
          <p:spPr>
            <a:xfrm>
              <a:off x="6275388" y="4297929"/>
              <a:ext cx="576263" cy="66595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200" b="1"/>
            </a:p>
          </p:txBody>
        </p:sp>
        <p:sp>
          <p:nvSpPr>
            <p:cNvPr id="58" name="L-Shape 57">
              <a:extLst>
                <a:ext uri="{FF2B5EF4-FFF2-40B4-BE49-F238E27FC236}">
                  <a16:creationId xmlns:a16="http://schemas.microsoft.com/office/drawing/2014/main" id="{A186B658-9A0E-BBA7-9B21-44BC57CAA7F2}"/>
                </a:ext>
              </a:extLst>
            </p:cNvPr>
            <p:cNvSpPr/>
            <p:nvPr/>
          </p:nvSpPr>
          <p:spPr>
            <a:xfrm rot="13500000">
              <a:off x="6410197" y="4494519"/>
              <a:ext cx="272777" cy="272777"/>
            </a:xfrm>
            <a:prstGeom prst="corner">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200"/>
            </a:p>
          </p:txBody>
        </p:sp>
        <p:sp>
          <p:nvSpPr>
            <p:cNvPr id="59" name="Rectangle 58">
              <a:extLst>
                <a:ext uri="{FF2B5EF4-FFF2-40B4-BE49-F238E27FC236}">
                  <a16:creationId xmlns:a16="http://schemas.microsoft.com/office/drawing/2014/main" id="{8F1E0B3E-E914-6820-0D81-D1ED9FAED68A}"/>
                </a:ext>
              </a:extLst>
            </p:cNvPr>
            <p:cNvSpPr/>
            <p:nvPr/>
          </p:nvSpPr>
          <p:spPr>
            <a:xfrm>
              <a:off x="6922085" y="4433263"/>
              <a:ext cx="482686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0" i="0" dirty="0">
                  <a:solidFill>
                    <a:srgbClr val="212529"/>
                  </a:solidFill>
                  <a:effectLst/>
                </a:rPr>
                <a:t>Medicines if you need to take them regularly</a:t>
              </a:r>
            </a:p>
          </p:txBody>
        </p:sp>
      </p:grpSp>
      <p:cxnSp>
        <p:nvCxnSpPr>
          <p:cNvPr id="60" name="Straight Connector 59">
            <a:extLst>
              <a:ext uri="{FF2B5EF4-FFF2-40B4-BE49-F238E27FC236}">
                <a16:creationId xmlns:a16="http://schemas.microsoft.com/office/drawing/2014/main" id="{0E670D97-BF54-ADE1-4392-6BCFF22D34BA}"/>
              </a:ext>
            </a:extLst>
          </p:cNvPr>
          <p:cNvCxnSpPr>
            <a:cxnSpLocks/>
          </p:cNvCxnSpPr>
          <p:nvPr/>
        </p:nvCxnSpPr>
        <p:spPr>
          <a:xfrm>
            <a:off x="6921500" y="3997829"/>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1" name="Rectangle 60">
            <a:extLst>
              <a:ext uri="{FF2B5EF4-FFF2-40B4-BE49-F238E27FC236}">
                <a16:creationId xmlns:a16="http://schemas.microsoft.com/office/drawing/2014/main" id="{CF6A31AA-8A7F-70C8-6B79-856B02CB0375}"/>
              </a:ext>
            </a:extLst>
          </p:cNvPr>
          <p:cNvSpPr/>
          <p:nvPr/>
        </p:nvSpPr>
        <p:spPr>
          <a:xfrm>
            <a:off x="442772" y="1823561"/>
            <a:ext cx="11306174"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chorCtr="0">
            <a:noAutofit/>
          </a:bodyPr>
          <a:lstStyle/>
          <a:p>
            <a:pPr rtl="0"/>
            <a:r>
              <a:rPr lang="en-gb" sz="1600" b="1">
                <a:solidFill>
                  <a:schemeClr val="tx1"/>
                </a:solidFill>
                <a:latin typeface="Arial" panose="020B0604020202020204" pitchFamily="34" charset="0"/>
              </a:rPr>
              <a:t>In case of emergency and temporary evacuation, you should take with you:</a:t>
            </a:r>
          </a:p>
        </p:txBody>
      </p:sp>
      <p:pic>
        <p:nvPicPr>
          <p:cNvPr id="40" name="Picture 39">
            <a:extLst>
              <a:ext uri="{FF2B5EF4-FFF2-40B4-BE49-F238E27FC236}">
                <a16:creationId xmlns:a16="http://schemas.microsoft.com/office/drawing/2014/main" id="{2D2E3D23-4999-3A28-DA9B-1944F1556C97}"/>
              </a:ext>
            </a:extLst>
          </p:cNvPr>
          <p:cNvPicPr>
            <a:picLocks noChangeAspect="1"/>
          </p:cNvPicPr>
          <p:nvPr/>
        </p:nvPicPr>
        <p:blipFill rotWithShape="1">
          <a:blip r:embed="rId6"/>
          <a:srcRect t="28201" b="62525"/>
          <a:stretch/>
        </p:blipFill>
        <p:spPr>
          <a:xfrm>
            <a:off x="442912" y="4815030"/>
            <a:ext cx="11306176" cy="1357170"/>
          </a:xfrm>
          <a:prstGeom prst="rect">
            <a:avLst/>
          </a:prstGeom>
        </p:spPr>
      </p:pic>
      <p:sp>
        <p:nvSpPr>
          <p:cNvPr id="48" name="Rectangle 47">
            <a:extLst>
              <a:ext uri="{FF2B5EF4-FFF2-40B4-BE49-F238E27FC236}">
                <a16:creationId xmlns:a16="http://schemas.microsoft.com/office/drawing/2014/main" id="{8D2F592B-245C-22B7-41CF-F80BFB0E750F}"/>
              </a:ext>
            </a:extLst>
          </p:cNvPr>
          <p:cNvSpPr/>
          <p:nvPr/>
        </p:nvSpPr>
        <p:spPr>
          <a:xfrm>
            <a:off x="442913" y="4815030"/>
            <a:ext cx="11306175" cy="1357313"/>
          </a:xfrm>
          <a:prstGeom prst="rect">
            <a:avLst/>
          </a:prstGeom>
          <a:solidFill>
            <a:schemeClr val="tx1">
              <a:alpha val="3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1" name="TextBox 50">
            <a:extLst>
              <a:ext uri="{FF2B5EF4-FFF2-40B4-BE49-F238E27FC236}">
                <a16:creationId xmlns:a16="http://schemas.microsoft.com/office/drawing/2014/main" id="{AF206590-85C6-978A-0EA2-5D58ECD8D4AF}"/>
              </a:ext>
            </a:extLst>
          </p:cNvPr>
          <p:cNvSpPr txBox="1"/>
          <p:nvPr/>
        </p:nvSpPr>
        <p:spPr>
          <a:xfrm>
            <a:off x="568551" y="5526966"/>
            <a:ext cx="37589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b="0" i="0" u="sng" dirty="0">
                <a:effectLst/>
                <a:latin typeface="Arial" panose="020B0604020202020204" pitchFamily="34" charset="0"/>
                <a:hlinkClick r:id="rId7">
                  <a:extLst>
                    <a:ext uri="{A12FA001-AC4F-418D-AE19-62706E023703}">
                      <ahyp:hlinkClr xmlns:ahyp="http://schemas.microsoft.com/office/drawing/2018/hyperlinkcolor" val="tx"/>
                    </a:ext>
                  </a:extLst>
                </a:hlinkClick>
              </a:rPr>
              <a:t>Evacuation and emergency bag</a:t>
            </a:r>
            <a:endParaRPr lang="lv-LV" sz="1100" b="0" i="0" dirty="0">
              <a:effectLst/>
              <a:latin typeface="Arial" panose="020B0604020202020204" pitchFamily="34" charset="0"/>
            </a:endParaRPr>
          </a:p>
        </p:txBody>
      </p:sp>
      <p:sp>
        <p:nvSpPr>
          <p:cNvPr id="52" name="Freeform 50">
            <a:extLst>
              <a:ext uri="{FF2B5EF4-FFF2-40B4-BE49-F238E27FC236}">
                <a16:creationId xmlns:a16="http://schemas.microsoft.com/office/drawing/2014/main" id="{F7DD9070-AFBA-209D-AA31-2A5A758289ED}"/>
              </a:ext>
            </a:extLst>
          </p:cNvPr>
          <p:cNvSpPr>
            <a:spLocks noChangeAspect="1"/>
          </p:cNvSpPr>
          <p:nvPr/>
        </p:nvSpPr>
        <p:spPr bwMode="auto">
          <a:xfrm>
            <a:off x="679079" y="564250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Tree>
    <p:extLst>
      <p:ext uri="{BB962C8B-B14F-4D97-AF65-F5344CB8AC3E}">
        <p14:creationId xmlns:p14="http://schemas.microsoft.com/office/powerpoint/2010/main" val="1613844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B7375F1-2B4C-7514-4880-078B51275F64}"/>
              </a:ext>
            </a:extLst>
          </p:cNvPr>
          <p:cNvGraphicFramePr>
            <a:graphicFrameLocks noChangeAspect="1"/>
          </p:cNvGraphicFramePr>
          <p:nvPr>
            <p:custDataLst>
              <p:tags r:id="rId1"/>
            </p:custDataLst>
            <p:extLst>
              <p:ext uri="{D42A27DB-BD31-4B8C-83A1-F6EECF244321}">
                <p14:modId xmlns:p14="http://schemas.microsoft.com/office/powerpoint/2010/main" val="3224627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7" name="think-cell data - do not delete" hidden="1">
                        <a:extLst>
                          <a:ext uri="{FF2B5EF4-FFF2-40B4-BE49-F238E27FC236}">
                            <a16:creationId xmlns:a16="http://schemas.microsoft.com/office/drawing/2014/main" id="{AB7375F1-2B4C-7514-4880-078B51275F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9B864A2D-CE08-25FC-B3B0-290F41A7D5F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42911" y="4402207"/>
            <a:ext cx="11312524"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06175" cy="1387274"/>
          </a:xfrm>
        </p:spPr>
        <p:txBody>
          <a:bodyPr vert="horz" rtlCol="0">
            <a:normAutofit/>
          </a:bodyPr>
          <a:lstStyle/>
          <a:p>
            <a:pPr rtl="0"/>
            <a:r>
              <a:rPr lang="en-gb"/>
              <a:t>Table of contents</a:t>
            </a:r>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en-GB" smtClean="0"/>
              <a:pPr rtl="0"/>
              <a:t>3</a:t>
            </a:fld>
            <a:endParaRPr lang="en-GB"/>
          </a:p>
        </p:txBody>
      </p:sp>
      <p:sp>
        <p:nvSpPr>
          <p:cNvPr id="11" name="Rectangle 10">
            <a:extLst>
              <a:ext uri="{FF2B5EF4-FFF2-40B4-BE49-F238E27FC236}">
                <a16:creationId xmlns:a16="http://schemas.microsoft.com/office/drawing/2014/main" id="{F6E3DD60-4A42-FD12-ECB9-84B0541B4361}"/>
              </a:ext>
            </a:extLst>
          </p:cNvPr>
          <p:cNvSpPr/>
          <p:nvPr/>
        </p:nvSpPr>
        <p:spPr>
          <a:xfrm>
            <a:off x="442913" y="955542"/>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dirty="0">
                <a:cs typeface="Arial"/>
              </a:rPr>
              <a:t>6.1. </a:t>
            </a:r>
            <a:r>
              <a:rPr lang="lv-LV" sz="1600" dirty="0">
                <a:cs typeface="Arial"/>
              </a:rPr>
              <a:t>Natural </a:t>
            </a:r>
            <a:r>
              <a:rPr lang="lv-LV" sz="1600" dirty="0" err="1">
                <a:cs typeface="Arial"/>
              </a:rPr>
              <a:t>disasters</a:t>
            </a:r>
            <a:endParaRPr lang="en-gb" sz="1600" dirty="0">
              <a:cs typeface="Arial"/>
            </a:endParaRPr>
          </a:p>
          <a:p>
            <a:pPr>
              <a:spcAft>
                <a:spcPts val="600"/>
              </a:spcAft>
            </a:pPr>
            <a:r>
              <a:rPr lang="en-gb" sz="1600" dirty="0">
                <a:cs typeface="Arial"/>
              </a:rPr>
              <a:t>6.2. </a:t>
            </a:r>
            <a:r>
              <a:rPr lang="lv-LV" sz="1600" dirty="0">
                <a:cs typeface="Arial"/>
              </a:rPr>
              <a:t>A</a:t>
            </a:r>
            <a:r>
              <a:rPr lang="en-gb" sz="1600" dirty="0" err="1">
                <a:cs typeface="Arial"/>
              </a:rPr>
              <a:t>nthropogenic</a:t>
            </a:r>
            <a:r>
              <a:rPr lang="en-gb" sz="1600" dirty="0">
                <a:cs typeface="Arial"/>
              </a:rPr>
              <a:t> disasters</a:t>
            </a:r>
          </a:p>
          <a:p>
            <a:pPr rtl="0">
              <a:spcAft>
                <a:spcPts val="600"/>
              </a:spcAft>
            </a:pPr>
            <a:r>
              <a:rPr lang="en-gb" sz="1600" dirty="0">
                <a:cs typeface="Arial"/>
              </a:rPr>
              <a:t>6.3. Individual </a:t>
            </a:r>
            <a:r>
              <a:rPr lang="lv-LV" sz="1600" dirty="0" err="1">
                <a:cs typeface="Arial"/>
              </a:rPr>
              <a:t>preparedness</a:t>
            </a:r>
            <a:endParaRPr lang="en-gb" sz="1600" dirty="0">
              <a:cs typeface="Aria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think-cell data - do not delete" hidden="1">
            <a:extLst>
              <a:ext uri="{FF2B5EF4-FFF2-40B4-BE49-F238E27FC236}">
                <a16:creationId xmlns:a16="http://schemas.microsoft.com/office/drawing/2014/main" id="{7AE41A81-5DA9-3D29-3038-84D54EDD521C}"/>
              </a:ext>
            </a:extLst>
          </p:cNvPr>
          <p:cNvGraphicFramePr>
            <a:graphicFrameLocks noChangeAspect="1"/>
          </p:cNvGraphicFramePr>
          <p:nvPr>
            <p:custDataLst>
              <p:tags r:id="rId1"/>
            </p:custDataLst>
            <p:extLst>
              <p:ext uri="{D42A27DB-BD31-4B8C-83A1-F6EECF244321}">
                <p14:modId xmlns:p14="http://schemas.microsoft.com/office/powerpoint/2010/main" val="973891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1" name="think-cell data - do not delete" hidden="1">
                        <a:extLst>
                          <a:ext uri="{FF2B5EF4-FFF2-40B4-BE49-F238E27FC236}">
                            <a16:creationId xmlns:a16="http://schemas.microsoft.com/office/drawing/2014/main" id="{7AE41A81-5DA9-3D29-3038-84D54EDD52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4313545E-2120-F08C-5E8F-081952269536}"/>
              </a:ext>
            </a:extLst>
          </p:cNvPr>
          <p:cNvSpPr/>
          <p:nvPr/>
        </p:nvSpPr>
        <p:spPr>
          <a:xfrm>
            <a:off x="442914" y="2493044"/>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Things to take with you for a prolonged evacuation:</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Items and supplies needed in the event of a prolonged evacuation</a:t>
            </a:r>
            <a:br>
              <a:rPr lang="lv-LV"/>
            </a:b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30</a:t>
            </a:fld>
            <a:endParaRPr lang="en-GB"/>
          </a:p>
        </p:txBody>
      </p:sp>
      <p:sp>
        <p:nvSpPr>
          <p:cNvPr id="7" name="Rectangle 6">
            <a:extLst>
              <a:ext uri="{FF2B5EF4-FFF2-40B4-BE49-F238E27FC236}">
                <a16:creationId xmlns:a16="http://schemas.microsoft.com/office/drawing/2014/main" id="{58051A40-6FB2-D129-6018-7981771593EF}"/>
              </a:ext>
            </a:extLst>
          </p:cNvPr>
          <p:cNvSpPr/>
          <p:nvPr/>
        </p:nvSpPr>
        <p:spPr>
          <a:xfrm>
            <a:off x="442913" y="1823561"/>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chorCtr="0">
            <a:noAutofit/>
          </a:bodyPr>
          <a:lstStyle/>
          <a:p>
            <a:pPr rtl="0"/>
            <a:r>
              <a:rPr lang="en-gb" sz="1200" b="1">
                <a:solidFill>
                  <a:schemeClr val="bg1"/>
                </a:solidFill>
                <a:latin typeface="Arial" panose="020B0604020202020204" pitchFamily="34" charset="0"/>
              </a:rPr>
              <a:t>These are things that a person or family will need in the event of a prolonged and foreseeable evacuation, as well as in the event of an interruption to utilities - gas, electricity, water.</a:t>
            </a:r>
          </a:p>
        </p:txBody>
      </p:sp>
      <p:grpSp>
        <p:nvGrpSpPr>
          <p:cNvPr id="93" name="Group 92">
            <a:extLst>
              <a:ext uri="{FF2B5EF4-FFF2-40B4-BE49-F238E27FC236}">
                <a16:creationId xmlns:a16="http://schemas.microsoft.com/office/drawing/2014/main" id="{B04A6C52-F7D3-9FFE-ACB7-A76F83739FEE}"/>
              </a:ext>
            </a:extLst>
          </p:cNvPr>
          <p:cNvGrpSpPr/>
          <p:nvPr/>
        </p:nvGrpSpPr>
        <p:grpSpPr>
          <a:xfrm>
            <a:off x="11102199" y="2493044"/>
            <a:ext cx="646888" cy="576000"/>
            <a:chOff x="5269725" y="2493044"/>
            <a:chExt cx="646888" cy="576000"/>
          </a:xfrm>
        </p:grpSpPr>
        <p:sp>
          <p:nvSpPr>
            <p:cNvPr id="12" name="Rectangle 11">
              <a:extLst>
                <a:ext uri="{FF2B5EF4-FFF2-40B4-BE49-F238E27FC236}">
                  <a16:creationId xmlns:a16="http://schemas.microsoft.com/office/drawing/2014/main" id="{531EC6BC-6224-CC85-15D9-1F663C792AFF}"/>
                </a:ext>
              </a:extLst>
            </p:cNvPr>
            <p:cNvSpPr/>
            <p:nvPr/>
          </p:nvSpPr>
          <p:spPr>
            <a:xfrm>
              <a:off x="5340613" y="2493044"/>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00" name="Google Shape;778;p79">
              <a:extLst>
                <a:ext uri="{FF2B5EF4-FFF2-40B4-BE49-F238E27FC236}">
                  <a16:creationId xmlns:a16="http://schemas.microsoft.com/office/drawing/2014/main" id="{9D5016DD-E913-97A3-4941-33880B1D229C}"/>
                </a:ext>
              </a:extLst>
            </p:cNvPr>
            <p:cNvSpPr/>
            <p:nvPr/>
          </p:nvSpPr>
          <p:spPr>
            <a:xfrm>
              <a:off x="5448432" y="2600863"/>
              <a:ext cx="360363" cy="360363"/>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2" name="Rectangle 31">
              <a:extLst>
                <a:ext uri="{FF2B5EF4-FFF2-40B4-BE49-F238E27FC236}">
                  <a16:creationId xmlns:a16="http://schemas.microsoft.com/office/drawing/2014/main" id="{6A4FD6DC-E4C1-D858-E054-0A05D8524AC5}"/>
                </a:ext>
              </a:extLst>
            </p:cNvPr>
            <p:cNvSpPr/>
            <p:nvPr/>
          </p:nvSpPr>
          <p:spPr>
            <a:xfrm>
              <a:off x="5269725" y="2493044"/>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51" name="TextBox 50">
            <a:extLst>
              <a:ext uri="{FF2B5EF4-FFF2-40B4-BE49-F238E27FC236}">
                <a16:creationId xmlns:a16="http://schemas.microsoft.com/office/drawing/2014/main" id="{AF206590-85C6-978A-0EA2-5D58ECD8D4AF}"/>
              </a:ext>
            </a:extLst>
          </p:cNvPr>
          <p:cNvSpPr txBox="1"/>
          <p:nvPr/>
        </p:nvSpPr>
        <p:spPr>
          <a:xfrm>
            <a:off x="442913" y="6235092"/>
            <a:ext cx="37589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b="0" i="0" u="sng">
                <a:effectLst/>
                <a:latin typeface="Arial" panose="020B0604020202020204" pitchFamily="34" charset="0"/>
                <a:hlinkClick r:id="rId6">
                  <a:extLst>
                    <a:ext uri="{A12FA001-AC4F-418D-AE19-62706E023703}">
                      <ahyp:hlinkClr xmlns:ahyp="http://schemas.microsoft.com/office/drawing/2018/hyperlinkcolor" val="tx"/>
                    </a:ext>
                  </a:extLst>
                </a:hlinkClick>
              </a:rPr>
              <a:t>Evacuation and emergency bag</a:t>
            </a:r>
            <a:endParaRPr lang="lv-LV" sz="1100" b="0" i="0">
              <a:effectLst/>
              <a:latin typeface="Arial" panose="020B0604020202020204" pitchFamily="34" charset="0"/>
            </a:endParaRPr>
          </a:p>
        </p:txBody>
      </p:sp>
      <p:sp>
        <p:nvSpPr>
          <p:cNvPr id="52" name="Freeform 50">
            <a:extLst>
              <a:ext uri="{FF2B5EF4-FFF2-40B4-BE49-F238E27FC236}">
                <a16:creationId xmlns:a16="http://schemas.microsoft.com/office/drawing/2014/main" id="{F7DD9070-AFBA-209D-AA31-2A5A758289ED}"/>
              </a:ext>
            </a:extLst>
          </p:cNvPr>
          <p:cNvSpPr>
            <a:spLocks noChangeAspect="1"/>
          </p:cNvSpPr>
          <p:nvPr/>
        </p:nvSpPr>
        <p:spPr bwMode="auto">
          <a:xfrm>
            <a:off x="553441" y="63506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grpSp>
        <p:nvGrpSpPr>
          <p:cNvPr id="3" name="Group 2">
            <a:extLst>
              <a:ext uri="{FF2B5EF4-FFF2-40B4-BE49-F238E27FC236}">
                <a16:creationId xmlns:a16="http://schemas.microsoft.com/office/drawing/2014/main" id="{53A703A3-3975-F6E3-8DB1-7F94A02DBDD4}"/>
              </a:ext>
            </a:extLst>
          </p:cNvPr>
          <p:cNvGrpSpPr/>
          <p:nvPr/>
        </p:nvGrpSpPr>
        <p:grpSpPr>
          <a:xfrm>
            <a:off x="9641294" y="157007"/>
            <a:ext cx="2107794" cy="220267"/>
            <a:chOff x="9641294" y="157007"/>
            <a:chExt cx="2107794" cy="220267"/>
          </a:xfrm>
        </p:grpSpPr>
        <p:sp>
          <p:nvSpPr>
            <p:cNvPr id="4" name="Rectangle 3">
              <a:extLst>
                <a:ext uri="{FF2B5EF4-FFF2-40B4-BE49-F238E27FC236}">
                  <a16:creationId xmlns:a16="http://schemas.microsoft.com/office/drawing/2014/main" id="{7A057D5A-FB41-71BC-5F1C-4F16A5BE9ACD}"/>
                </a:ext>
              </a:extLst>
            </p:cNvPr>
            <p:cNvSpPr/>
            <p:nvPr/>
          </p:nvSpPr>
          <p:spPr>
            <a:xfrm>
              <a:off x="10366138" y="159786"/>
              <a:ext cx="138295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Individual resilience</a:t>
              </a:r>
              <a:endParaRPr kumimoji="0" lang="en-US"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16D96229-3565-0907-A705-33C828E6BA91}"/>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E8916042-AEE4-D99E-5A98-71E3E6276A8C}"/>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586B873D-124C-E8E8-8935-0CFFC59FFCBC}"/>
                </a:ext>
              </a:extLst>
            </p:cNvPr>
            <p:cNvSpPr/>
            <p:nvPr/>
          </p:nvSpPr>
          <p:spPr>
            <a:xfrm>
              <a:off x="10124522"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6.3</a:t>
              </a:r>
              <a:endParaRPr kumimoji="0" lang="lv-LV" sz="800" b="1" i="0" u="none" strike="noStrike" kern="0" cap="none" spc="0" normalizeH="0" baseline="0">
                <a:ln>
                  <a:noFill/>
                </a:ln>
                <a:effectLst/>
                <a:uLnTx/>
                <a:uFillTx/>
                <a:ea typeface="Georgia"/>
                <a:cs typeface="Georgia"/>
                <a:sym typeface="Georgia"/>
              </a:endParaRPr>
            </a:p>
          </p:txBody>
        </p:sp>
      </p:gr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089026" y="3634503"/>
            <a:ext cx="482758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089025" y="4148587"/>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089025" y="4667005"/>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DECC24C5-1827-E754-DC4D-3A64724DA4B2}"/>
              </a:ext>
            </a:extLst>
          </p:cNvPr>
          <p:cNvCxnSpPr>
            <a:cxnSpLocks/>
          </p:cNvCxnSpPr>
          <p:nvPr/>
        </p:nvCxnSpPr>
        <p:spPr>
          <a:xfrm>
            <a:off x="1089025" y="5181659"/>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5" name="Group 24">
            <a:extLst>
              <a:ext uri="{FF2B5EF4-FFF2-40B4-BE49-F238E27FC236}">
                <a16:creationId xmlns:a16="http://schemas.microsoft.com/office/drawing/2014/main" id="{F3CE1404-E8EF-C937-E13F-019EF1A52243}"/>
              </a:ext>
            </a:extLst>
          </p:cNvPr>
          <p:cNvGrpSpPr/>
          <p:nvPr/>
        </p:nvGrpSpPr>
        <p:grpSpPr>
          <a:xfrm>
            <a:off x="442914" y="3675645"/>
            <a:ext cx="5412175" cy="431800"/>
            <a:chOff x="442914" y="3678822"/>
            <a:chExt cx="5412175" cy="431800"/>
          </a:xfrm>
        </p:grpSpPr>
        <p:sp>
          <p:nvSpPr>
            <p:cNvPr id="37" name="Rectangle 36">
              <a:extLst>
                <a:ext uri="{FF2B5EF4-FFF2-40B4-BE49-F238E27FC236}">
                  <a16:creationId xmlns:a16="http://schemas.microsoft.com/office/drawing/2014/main" id="{F8DA8802-9BC8-065F-5AA6-BD78F056BC7A}"/>
                </a:ext>
              </a:extLst>
            </p:cNvPr>
            <p:cNvSpPr/>
            <p:nvPr/>
          </p:nvSpPr>
          <p:spPr>
            <a:xfrm>
              <a:off x="1089611" y="3697078"/>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dirty="0">
                  <a:solidFill>
                    <a:schemeClr val="tx1"/>
                  </a:solidFill>
                </a:rPr>
                <a:t>Small amount of </a:t>
              </a:r>
              <a:r>
                <a:rPr lang="lv-LV" sz="1400" dirty="0" err="1">
                  <a:solidFill>
                    <a:schemeClr val="tx1"/>
                  </a:solidFill>
                </a:rPr>
                <a:t>cash</a:t>
              </a:r>
              <a:endParaRPr lang="lv-LV" sz="1400" b="0" i="0" dirty="0">
                <a:solidFill>
                  <a:schemeClr val="tx1"/>
                </a:solidFill>
                <a:effectLst/>
              </a:endParaRPr>
            </a:p>
          </p:txBody>
        </p:sp>
        <p:sp>
          <p:nvSpPr>
            <p:cNvPr id="10" name="Rectangle 9">
              <a:extLst>
                <a:ext uri="{FF2B5EF4-FFF2-40B4-BE49-F238E27FC236}">
                  <a16:creationId xmlns:a16="http://schemas.microsoft.com/office/drawing/2014/main" id="{30369542-0003-0EBC-A006-37562C74A95C}"/>
                </a:ext>
              </a:extLst>
            </p:cNvPr>
            <p:cNvSpPr/>
            <p:nvPr/>
          </p:nvSpPr>
          <p:spPr>
            <a:xfrm>
              <a:off x="442914" y="3678822"/>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9" name="L-Shape 28">
              <a:extLst>
                <a:ext uri="{FF2B5EF4-FFF2-40B4-BE49-F238E27FC236}">
                  <a16:creationId xmlns:a16="http://schemas.microsoft.com/office/drawing/2014/main" id="{330A85DF-C2A0-C01C-15CD-4DDC477E2C37}"/>
                </a:ext>
              </a:extLst>
            </p:cNvPr>
            <p:cNvSpPr/>
            <p:nvPr/>
          </p:nvSpPr>
          <p:spPr>
            <a:xfrm rot="13500000">
              <a:off x="577723" y="375833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23" name="Group 22">
            <a:extLst>
              <a:ext uri="{FF2B5EF4-FFF2-40B4-BE49-F238E27FC236}">
                <a16:creationId xmlns:a16="http://schemas.microsoft.com/office/drawing/2014/main" id="{8E6C46A5-82C3-22D2-8502-D8A0EFDE76CC}"/>
              </a:ext>
            </a:extLst>
          </p:cNvPr>
          <p:cNvGrpSpPr/>
          <p:nvPr/>
        </p:nvGrpSpPr>
        <p:grpSpPr>
          <a:xfrm>
            <a:off x="442914" y="4708717"/>
            <a:ext cx="5412175" cy="431800"/>
            <a:chOff x="442914" y="4713344"/>
            <a:chExt cx="5412175" cy="431800"/>
          </a:xfrm>
        </p:grpSpPr>
        <p:sp>
          <p:nvSpPr>
            <p:cNvPr id="43" name="Rectangle 42">
              <a:extLst>
                <a:ext uri="{FF2B5EF4-FFF2-40B4-BE49-F238E27FC236}">
                  <a16:creationId xmlns:a16="http://schemas.microsoft.com/office/drawing/2014/main" id="{196EC982-36C1-885A-26A4-7ABFE845ED01}"/>
                </a:ext>
              </a:extLst>
            </p:cNvPr>
            <p:cNvSpPr/>
            <p:nvPr/>
          </p:nvSpPr>
          <p:spPr>
            <a:xfrm>
              <a:off x="1089611" y="4731600"/>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dirty="0">
                  <a:solidFill>
                    <a:srgbClr val="212529"/>
                  </a:solidFill>
                </a:rPr>
                <a:t>Multifunctional folding knife, spoon,</a:t>
              </a:r>
              <a:r>
                <a:rPr lang="lv-LV" sz="1400" dirty="0">
                  <a:solidFill>
                    <a:srgbClr val="212529"/>
                  </a:solidFill>
                </a:rPr>
                <a:t> </a:t>
              </a:r>
              <a:r>
                <a:rPr lang="en-gb" sz="1400" dirty="0">
                  <a:solidFill>
                    <a:srgbClr val="212529"/>
                  </a:solidFill>
                </a:rPr>
                <a:t>a leak-proof bowl and cup</a:t>
              </a:r>
              <a:endParaRPr lang="lv-LV" sz="1400" b="0" i="0" dirty="0">
                <a:solidFill>
                  <a:srgbClr val="212529"/>
                </a:solidFill>
                <a:effectLst/>
              </a:endParaRPr>
            </a:p>
          </p:txBody>
        </p:sp>
        <p:sp>
          <p:nvSpPr>
            <p:cNvPr id="58" name="Rectangle 57">
              <a:extLst>
                <a:ext uri="{FF2B5EF4-FFF2-40B4-BE49-F238E27FC236}">
                  <a16:creationId xmlns:a16="http://schemas.microsoft.com/office/drawing/2014/main" id="{E0C3246F-615C-E365-37FF-FF0E4F7175ED}"/>
                </a:ext>
              </a:extLst>
            </p:cNvPr>
            <p:cNvSpPr/>
            <p:nvPr/>
          </p:nvSpPr>
          <p:spPr>
            <a:xfrm>
              <a:off x="442914" y="4713344"/>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9" name="L-Shape 58">
              <a:extLst>
                <a:ext uri="{FF2B5EF4-FFF2-40B4-BE49-F238E27FC236}">
                  <a16:creationId xmlns:a16="http://schemas.microsoft.com/office/drawing/2014/main" id="{EDE5B762-F74B-82FD-AAB4-0754A83C5910}"/>
                </a:ext>
              </a:extLst>
            </p:cNvPr>
            <p:cNvSpPr/>
            <p:nvPr/>
          </p:nvSpPr>
          <p:spPr>
            <a:xfrm rot="13500000">
              <a:off x="577723" y="47928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24" name="Group 23">
            <a:extLst>
              <a:ext uri="{FF2B5EF4-FFF2-40B4-BE49-F238E27FC236}">
                <a16:creationId xmlns:a16="http://schemas.microsoft.com/office/drawing/2014/main" id="{DD940420-DE12-D0FB-7382-2876DCAD34FA}"/>
              </a:ext>
            </a:extLst>
          </p:cNvPr>
          <p:cNvGrpSpPr/>
          <p:nvPr/>
        </p:nvGrpSpPr>
        <p:grpSpPr>
          <a:xfrm>
            <a:off x="442914" y="4192181"/>
            <a:ext cx="5412175" cy="431800"/>
            <a:chOff x="442914" y="4196083"/>
            <a:chExt cx="5412175" cy="431800"/>
          </a:xfrm>
        </p:grpSpPr>
        <p:sp>
          <p:nvSpPr>
            <p:cNvPr id="39" name="Rectangle 38">
              <a:extLst>
                <a:ext uri="{FF2B5EF4-FFF2-40B4-BE49-F238E27FC236}">
                  <a16:creationId xmlns:a16="http://schemas.microsoft.com/office/drawing/2014/main" id="{0EF24B69-F68A-AA73-E401-29E429809714}"/>
                </a:ext>
              </a:extLst>
            </p:cNvPr>
            <p:cNvSpPr/>
            <p:nvPr/>
          </p:nvSpPr>
          <p:spPr>
            <a:xfrm>
              <a:off x="1089611" y="4214339"/>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dirty="0">
                  <a:solidFill>
                    <a:schemeClr val="tx1"/>
                  </a:solidFill>
                </a:rPr>
                <a:t>Portable radio, matches or lighter,</a:t>
              </a:r>
              <a:r>
                <a:rPr lang="lv-LV" sz="1400" dirty="0">
                  <a:solidFill>
                    <a:schemeClr val="tx1"/>
                  </a:solidFill>
                </a:rPr>
                <a:t> </a:t>
              </a:r>
              <a:r>
                <a:rPr lang="en-gb" sz="1400" dirty="0">
                  <a:solidFill>
                    <a:schemeClr val="tx1"/>
                  </a:solidFill>
                </a:rPr>
                <a:t>torch, batteries</a:t>
              </a:r>
              <a:endParaRPr lang="lv-LV" sz="1400" b="0" i="0" dirty="0">
                <a:solidFill>
                  <a:schemeClr val="tx1"/>
                </a:solidFill>
                <a:effectLst/>
              </a:endParaRPr>
            </a:p>
          </p:txBody>
        </p:sp>
        <p:sp>
          <p:nvSpPr>
            <p:cNvPr id="73" name="Rectangle 72">
              <a:extLst>
                <a:ext uri="{FF2B5EF4-FFF2-40B4-BE49-F238E27FC236}">
                  <a16:creationId xmlns:a16="http://schemas.microsoft.com/office/drawing/2014/main" id="{CA994AF4-2D0C-4B8D-93C4-D791B69295F8}"/>
                </a:ext>
              </a:extLst>
            </p:cNvPr>
            <p:cNvSpPr/>
            <p:nvPr/>
          </p:nvSpPr>
          <p:spPr>
            <a:xfrm>
              <a:off x="442914" y="4196083"/>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9" name="L-Shape 78">
              <a:extLst>
                <a:ext uri="{FF2B5EF4-FFF2-40B4-BE49-F238E27FC236}">
                  <a16:creationId xmlns:a16="http://schemas.microsoft.com/office/drawing/2014/main" id="{5C41B513-01DA-5170-D34B-9EAF5A764960}"/>
                </a:ext>
              </a:extLst>
            </p:cNvPr>
            <p:cNvSpPr/>
            <p:nvPr/>
          </p:nvSpPr>
          <p:spPr>
            <a:xfrm rot="13500000">
              <a:off x="577723" y="427559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21" name="Group 20">
            <a:extLst>
              <a:ext uri="{FF2B5EF4-FFF2-40B4-BE49-F238E27FC236}">
                <a16:creationId xmlns:a16="http://schemas.microsoft.com/office/drawing/2014/main" id="{EB583090-5E44-F85A-368D-217C5208D940}"/>
              </a:ext>
            </a:extLst>
          </p:cNvPr>
          <p:cNvGrpSpPr/>
          <p:nvPr/>
        </p:nvGrpSpPr>
        <p:grpSpPr>
          <a:xfrm>
            <a:off x="442914" y="5225253"/>
            <a:ext cx="5412175" cy="431800"/>
            <a:chOff x="442914" y="5230605"/>
            <a:chExt cx="5412175" cy="431800"/>
          </a:xfrm>
        </p:grpSpPr>
        <p:sp>
          <p:nvSpPr>
            <p:cNvPr id="49" name="Rectangle 48">
              <a:extLst>
                <a:ext uri="{FF2B5EF4-FFF2-40B4-BE49-F238E27FC236}">
                  <a16:creationId xmlns:a16="http://schemas.microsoft.com/office/drawing/2014/main" id="{FB6F852C-2CA8-C4D2-B095-D1AECCF1F7AB}"/>
                </a:ext>
              </a:extLst>
            </p:cNvPr>
            <p:cNvSpPr/>
            <p:nvPr/>
          </p:nvSpPr>
          <p:spPr>
            <a:xfrm>
              <a:off x="1089611" y="5248861"/>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dirty="0">
                  <a:solidFill>
                    <a:srgbClr val="212529"/>
                  </a:solidFill>
                </a:rPr>
                <a:t>Tape, string, thread, needle, scissors,</a:t>
              </a:r>
              <a:r>
                <a:rPr lang="lv-LV" sz="1400" dirty="0">
                  <a:solidFill>
                    <a:srgbClr val="212529"/>
                  </a:solidFill>
                </a:rPr>
                <a:t> </a:t>
              </a:r>
              <a:r>
                <a:rPr lang="en-gb" sz="1400" dirty="0">
                  <a:solidFill>
                    <a:srgbClr val="212529"/>
                  </a:solidFill>
                </a:rPr>
                <a:t>paper and stationery</a:t>
              </a:r>
              <a:endParaRPr lang="lv-LV" sz="1400" b="0" i="0" dirty="0">
                <a:solidFill>
                  <a:srgbClr val="212529"/>
                </a:solidFill>
                <a:effectLst/>
              </a:endParaRPr>
            </a:p>
          </p:txBody>
        </p:sp>
        <p:sp>
          <p:nvSpPr>
            <p:cNvPr id="83" name="Rectangle 82">
              <a:extLst>
                <a:ext uri="{FF2B5EF4-FFF2-40B4-BE49-F238E27FC236}">
                  <a16:creationId xmlns:a16="http://schemas.microsoft.com/office/drawing/2014/main" id="{1AB6858B-E722-166E-7C56-C66F44C277B0}"/>
                </a:ext>
              </a:extLst>
            </p:cNvPr>
            <p:cNvSpPr/>
            <p:nvPr/>
          </p:nvSpPr>
          <p:spPr>
            <a:xfrm>
              <a:off x="442914" y="5230605"/>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4" name="L-Shape 83">
              <a:extLst>
                <a:ext uri="{FF2B5EF4-FFF2-40B4-BE49-F238E27FC236}">
                  <a16:creationId xmlns:a16="http://schemas.microsoft.com/office/drawing/2014/main" id="{F2DAFE76-FDD0-715B-6FEA-8868F9CA2D3E}"/>
                </a:ext>
              </a:extLst>
            </p:cNvPr>
            <p:cNvSpPr/>
            <p:nvPr/>
          </p:nvSpPr>
          <p:spPr>
            <a:xfrm rot="13500000">
              <a:off x="577723" y="53101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26" name="Group 25">
            <a:extLst>
              <a:ext uri="{FF2B5EF4-FFF2-40B4-BE49-F238E27FC236}">
                <a16:creationId xmlns:a16="http://schemas.microsoft.com/office/drawing/2014/main" id="{90AA2538-2305-EDCA-77C9-0B33189CF8EE}"/>
              </a:ext>
            </a:extLst>
          </p:cNvPr>
          <p:cNvGrpSpPr/>
          <p:nvPr/>
        </p:nvGrpSpPr>
        <p:grpSpPr>
          <a:xfrm>
            <a:off x="442914" y="3160964"/>
            <a:ext cx="5412175" cy="432397"/>
            <a:chOff x="442914" y="3160964"/>
            <a:chExt cx="5412175" cy="432397"/>
          </a:xfrm>
        </p:grpSpPr>
        <p:sp>
          <p:nvSpPr>
            <p:cNvPr id="22" name="Rectangle 21">
              <a:extLst>
                <a:ext uri="{FF2B5EF4-FFF2-40B4-BE49-F238E27FC236}">
                  <a16:creationId xmlns:a16="http://schemas.microsoft.com/office/drawing/2014/main" id="{89375083-FFCA-9108-0E80-8EB60C92354F}"/>
                </a:ext>
              </a:extLst>
            </p:cNvPr>
            <p:cNvSpPr/>
            <p:nvPr/>
          </p:nvSpPr>
          <p:spPr>
            <a:xfrm>
              <a:off x="1089611" y="3179518"/>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tx1"/>
                  </a:solidFill>
                </a:rPr>
                <a:t>Copies of important documents in polythene wrapping</a:t>
              </a:r>
              <a:endParaRPr lang="lv-LV" sz="1400" b="0" i="0" dirty="0">
                <a:solidFill>
                  <a:schemeClr val="tx1"/>
                </a:solidFill>
                <a:effectLst/>
              </a:endParaRPr>
            </a:p>
          </p:txBody>
        </p:sp>
        <p:sp>
          <p:nvSpPr>
            <p:cNvPr id="88" name="Rectangle 87">
              <a:extLst>
                <a:ext uri="{FF2B5EF4-FFF2-40B4-BE49-F238E27FC236}">
                  <a16:creationId xmlns:a16="http://schemas.microsoft.com/office/drawing/2014/main" id="{604DCE03-7047-B174-CD36-FD4F8F4F19BA}"/>
                </a:ext>
              </a:extLst>
            </p:cNvPr>
            <p:cNvSpPr/>
            <p:nvPr/>
          </p:nvSpPr>
          <p:spPr>
            <a:xfrm>
              <a:off x="442914" y="3160964"/>
              <a:ext cx="576263" cy="43239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9" name="L-Shape 88">
              <a:extLst>
                <a:ext uri="{FF2B5EF4-FFF2-40B4-BE49-F238E27FC236}">
                  <a16:creationId xmlns:a16="http://schemas.microsoft.com/office/drawing/2014/main" id="{FFB17650-58E3-F18E-626D-88ECCE3A6CE2}"/>
                </a:ext>
              </a:extLst>
            </p:cNvPr>
            <p:cNvSpPr/>
            <p:nvPr/>
          </p:nvSpPr>
          <p:spPr>
            <a:xfrm rot="13500000">
              <a:off x="577723" y="324077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20" name="Group 19">
            <a:extLst>
              <a:ext uri="{FF2B5EF4-FFF2-40B4-BE49-F238E27FC236}">
                <a16:creationId xmlns:a16="http://schemas.microsoft.com/office/drawing/2014/main" id="{0EE1A477-258B-B84C-FAC2-7D9C29C9ED04}"/>
              </a:ext>
            </a:extLst>
          </p:cNvPr>
          <p:cNvGrpSpPr/>
          <p:nvPr/>
        </p:nvGrpSpPr>
        <p:grpSpPr>
          <a:xfrm>
            <a:off x="442914" y="5741792"/>
            <a:ext cx="5412175" cy="431800"/>
            <a:chOff x="442914" y="5747866"/>
            <a:chExt cx="5412175" cy="431800"/>
          </a:xfrm>
        </p:grpSpPr>
        <p:sp>
          <p:nvSpPr>
            <p:cNvPr id="62" name="Rectangle 61">
              <a:extLst>
                <a:ext uri="{FF2B5EF4-FFF2-40B4-BE49-F238E27FC236}">
                  <a16:creationId xmlns:a16="http://schemas.microsoft.com/office/drawing/2014/main" id="{00D0898C-B279-9C60-7C9B-6B939E7B10E9}"/>
                </a:ext>
              </a:extLst>
            </p:cNvPr>
            <p:cNvSpPr/>
            <p:nvPr/>
          </p:nvSpPr>
          <p:spPr>
            <a:xfrm>
              <a:off x="442914" y="5747866"/>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4" name="L-Shape 63">
              <a:extLst>
                <a:ext uri="{FF2B5EF4-FFF2-40B4-BE49-F238E27FC236}">
                  <a16:creationId xmlns:a16="http://schemas.microsoft.com/office/drawing/2014/main" id="{650DFA97-844F-56B9-30C0-608D239952BE}"/>
                </a:ext>
              </a:extLst>
            </p:cNvPr>
            <p:cNvSpPr/>
            <p:nvPr/>
          </p:nvSpPr>
          <p:spPr>
            <a:xfrm rot="13500000">
              <a:off x="577723" y="582737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sp>
          <p:nvSpPr>
            <p:cNvPr id="94" name="Rectangle 93">
              <a:extLst>
                <a:ext uri="{FF2B5EF4-FFF2-40B4-BE49-F238E27FC236}">
                  <a16:creationId xmlns:a16="http://schemas.microsoft.com/office/drawing/2014/main" id="{844902F8-8804-FE10-A6C6-3ED71D08ECAC}"/>
                </a:ext>
              </a:extLst>
            </p:cNvPr>
            <p:cNvSpPr/>
            <p:nvPr/>
          </p:nvSpPr>
          <p:spPr>
            <a:xfrm>
              <a:off x="1089611" y="5766122"/>
              <a:ext cx="4765478"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a:solidFill>
                    <a:srgbClr val="212529"/>
                  </a:solidFill>
                </a:rPr>
                <a:t>First aid kit</a:t>
              </a:r>
              <a:endParaRPr lang="lv-LV" sz="1400" b="0" i="0">
                <a:solidFill>
                  <a:srgbClr val="212529"/>
                </a:solidFill>
                <a:effectLst/>
              </a:endParaRPr>
            </a:p>
          </p:txBody>
        </p:sp>
      </p:grpSp>
      <p:cxnSp>
        <p:nvCxnSpPr>
          <p:cNvPr id="101" name="Straight Connector 100">
            <a:extLst>
              <a:ext uri="{FF2B5EF4-FFF2-40B4-BE49-F238E27FC236}">
                <a16:creationId xmlns:a16="http://schemas.microsoft.com/office/drawing/2014/main" id="{88C2E99A-18DB-9A53-206E-871A27FE7015}"/>
              </a:ext>
            </a:extLst>
          </p:cNvPr>
          <p:cNvCxnSpPr>
            <a:cxnSpLocks/>
          </p:cNvCxnSpPr>
          <p:nvPr/>
        </p:nvCxnSpPr>
        <p:spPr>
          <a:xfrm>
            <a:off x="1089025" y="5698195"/>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09" name="Straight Connector 108">
            <a:extLst>
              <a:ext uri="{FF2B5EF4-FFF2-40B4-BE49-F238E27FC236}">
                <a16:creationId xmlns:a16="http://schemas.microsoft.com/office/drawing/2014/main" id="{BC195710-7696-C6C7-2BCB-72CE1A57138D}"/>
              </a:ext>
            </a:extLst>
          </p:cNvPr>
          <p:cNvCxnSpPr>
            <a:cxnSpLocks/>
          </p:cNvCxnSpPr>
          <p:nvPr/>
        </p:nvCxnSpPr>
        <p:spPr>
          <a:xfrm>
            <a:off x="6927850" y="4148587"/>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10" name="Straight Connector 109">
            <a:extLst>
              <a:ext uri="{FF2B5EF4-FFF2-40B4-BE49-F238E27FC236}">
                <a16:creationId xmlns:a16="http://schemas.microsoft.com/office/drawing/2014/main" id="{7E976A40-50EB-BEF2-BF44-FE9FA5FBA96F}"/>
              </a:ext>
            </a:extLst>
          </p:cNvPr>
          <p:cNvCxnSpPr>
            <a:cxnSpLocks/>
          </p:cNvCxnSpPr>
          <p:nvPr/>
        </p:nvCxnSpPr>
        <p:spPr>
          <a:xfrm>
            <a:off x="6927850" y="4665123"/>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11" name="Straight Connector 110">
            <a:extLst>
              <a:ext uri="{FF2B5EF4-FFF2-40B4-BE49-F238E27FC236}">
                <a16:creationId xmlns:a16="http://schemas.microsoft.com/office/drawing/2014/main" id="{5F71369B-48D1-8403-55CC-C4529AD68ADE}"/>
              </a:ext>
            </a:extLst>
          </p:cNvPr>
          <p:cNvCxnSpPr>
            <a:cxnSpLocks/>
          </p:cNvCxnSpPr>
          <p:nvPr/>
        </p:nvCxnSpPr>
        <p:spPr>
          <a:xfrm>
            <a:off x="6927850" y="5181659"/>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35" name="Straight Connector 134">
            <a:extLst>
              <a:ext uri="{FF2B5EF4-FFF2-40B4-BE49-F238E27FC236}">
                <a16:creationId xmlns:a16="http://schemas.microsoft.com/office/drawing/2014/main" id="{8A8E4E97-CC90-5420-04AE-BEE820017E4F}"/>
              </a:ext>
            </a:extLst>
          </p:cNvPr>
          <p:cNvCxnSpPr>
            <a:cxnSpLocks/>
          </p:cNvCxnSpPr>
          <p:nvPr/>
        </p:nvCxnSpPr>
        <p:spPr>
          <a:xfrm>
            <a:off x="6927850" y="5698195"/>
            <a:ext cx="482758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28" name="Group 27">
            <a:extLst>
              <a:ext uri="{FF2B5EF4-FFF2-40B4-BE49-F238E27FC236}">
                <a16:creationId xmlns:a16="http://schemas.microsoft.com/office/drawing/2014/main" id="{B1E32F24-14AA-37E2-4A6F-011DA73BE2A0}"/>
              </a:ext>
            </a:extLst>
          </p:cNvPr>
          <p:cNvGrpSpPr/>
          <p:nvPr/>
        </p:nvGrpSpPr>
        <p:grpSpPr>
          <a:xfrm>
            <a:off x="6275388" y="3675645"/>
            <a:ext cx="5454498" cy="431800"/>
            <a:chOff x="6294307" y="3678822"/>
            <a:chExt cx="5454498" cy="431800"/>
          </a:xfrm>
        </p:grpSpPr>
        <p:sp>
          <p:nvSpPr>
            <p:cNvPr id="112" name="Rectangle 111">
              <a:extLst>
                <a:ext uri="{FF2B5EF4-FFF2-40B4-BE49-F238E27FC236}">
                  <a16:creationId xmlns:a16="http://schemas.microsoft.com/office/drawing/2014/main" id="{CE225DC7-E008-92B7-C53A-EF1DB5425A8E}"/>
                </a:ext>
              </a:extLst>
            </p:cNvPr>
            <p:cNvSpPr/>
            <p:nvPr/>
          </p:nvSpPr>
          <p:spPr>
            <a:xfrm>
              <a:off x="6982753" y="3697078"/>
              <a:ext cx="476605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tx1"/>
                  </a:solidFill>
                </a:rPr>
                <a:t>Comfortable shoes</a:t>
              </a:r>
            </a:p>
          </p:txBody>
        </p:sp>
        <p:sp>
          <p:nvSpPr>
            <p:cNvPr id="145" name="Rectangle 144">
              <a:extLst>
                <a:ext uri="{FF2B5EF4-FFF2-40B4-BE49-F238E27FC236}">
                  <a16:creationId xmlns:a16="http://schemas.microsoft.com/office/drawing/2014/main" id="{FEA0196F-BE95-27C5-83FA-816B4C71CC4D}"/>
                </a:ext>
              </a:extLst>
            </p:cNvPr>
            <p:cNvSpPr/>
            <p:nvPr/>
          </p:nvSpPr>
          <p:spPr>
            <a:xfrm>
              <a:off x="6294307" y="3678822"/>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46" name="L-Shape 145">
              <a:extLst>
                <a:ext uri="{FF2B5EF4-FFF2-40B4-BE49-F238E27FC236}">
                  <a16:creationId xmlns:a16="http://schemas.microsoft.com/office/drawing/2014/main" id="{33D36DDF-DE13-2813-C929-91B49749B619}"/>
                </a:ext>
              </a:extLst>
            </p:cNvPr>
            <p:cNvSpPr/>
            <p:nvPr/>
          </p:nvSpPr>
          <p:spPr>
            <a:xfrm rot="13500000">
              <a:off x="6429116" y="375833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36" name="Group 35">
            <a:extLst>
              <a:ext uri="{FF2B5EF4-FFF2-40B4-BE49-F238E27FC236}">
                <a16:creationId xmlns:a16="http://schemas.microsoft.com/office/drawing/2014/main" id="{CD0519B3-18B2-3940-A264-AB3D54BB4AEC}"/>
              </a:ext>
            </a:extLst>
          </p:cNvPr>
          <p:cNvGrpSpPr/>
          <p:nvPr/>
        </p:nvGrpSpPr>
        <p:grpSpPr>
          <a:xfrm>
            <a:off x="6275388" y="4708717"/>
            <a:ext cx="5454498" cy="431800"/>
            <a:chOff x="6294307" y="4713344"/>
            <a:chExt cx="5454498" cy="431800"/>
          </a:xfrm>
        </p:grpSpPr>
        <p:sp>
          <p:nvSpPr>
            <p:cNvPr id="114" name="Rectangle 113">
              <a:extLst>
                <a:ext uri="{FF2B5EF4-FFF2-40B4-BE49-F238E27FC236}">
                  <a16:creationId xmlns:a16="http://schemas.microsoft.com/office/drawing/2014/main" id="{C811D597-70F7-1779-21A3-651A58A939DA}"/>
                </a:ext>
              </a:extLst>
            </p:cNvPr>
            <p:cNvSpPr/>
            <p:nvPr/>
          </p:nvSpPr>
          <p:spPr>
            <a:xfrm>
              <a:off x="6982753" y="4731600"/>
              <a:ext cx="4766052"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dirty="0">
                  <a:solidFill>
                    <a:srgbClr val="212529"/>
                  </a:solidFill>
                </a:rPr>
                <a:t>Hygiene items, towels, toilet paper,</a:t>
              </a:r>
              <a:r>
                <a:rPr lang="lv-LV" sz="1400" dirty="0">
                  <a:solidFill>
                    <a:srgbClr val="212529"/>
                  </a:solidFill>
                </a:rPr>
                <a:t> </a:t>
              </a:r>
              <a:r>
                <a:rPr lang="en-gb" sz="1400" dirty="0">
                  <a:solidFill>
                    <a:srgbClr val="212529"/>
                  </a:solidFill>
                </a:rPr>
                <a:t>disposable wipes</a:t>
              </a:r>
            </a:p>
          </p:txBody>
        </p:sp>
        <p:sp>
          <p:nvSpPr>
            <p:cNvPr id="147" name="Rectangle 146">
              <a:extLst>
                <a:ext uri="{FF2B5EF4-FFF2-40B4-BE49-F238E27FC236}">
                  <a16:creationId xmlns:a16="http://schemas.microsoft.com/office/drawing/2014/main" id="{0080CAF5-EFAA-8F52-EF9A-5153BBFBE12C}"/>
                </a:ext>
              </a:extLst>
            </p:cNvPr>
            <p:cNvSpPr/>
            <p:nvPr/>
          </p:nvSpPr>
          <p:spPr>
            <a:xfrm>
              <a:off x="6294307" y="4713344"/>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48" name="L-Shape 147">
              <a:extLst>
                <a:ext uri="{FF2B5EF4-FFF2-40B4-BE49-F238E27FC236}">
                  <a16:creationId xmlns:a16="http://schemas.microsoft.com/office/drawing/2014/main" id="{F65C1C29-24D7-2EA5-E06F-DFD7B3801DD6}"/>
                </a:ext>
              </a:extLst>
            </p:cNvPr>
            <p:cNvSpPr/>
            <p:nvPr/>
          </p:nvSpPr>
          <p:spPr>
            <a:xfrm rot="13500000">
              <a:off x="6429116" y="47928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40" name="Group 39">
            <a:extLst>
              <a:ext uri="{FF2B5EF4-FFF2-40B4-BE49-F238E27FC236}">
                <a16:creationId xmlns:a16="http://schemas.microsoft.com/office/drawing/2014/main" id="{875E3E33-87B3-F8A9-DA70-FD8467371B02}"/>
              </a:ext>
            </a:extLst>
          </p:cNvPr>
          <p:cNvGrpSpPr/>
          <p:nvPr/>
        </p:nvGrpSpPr>
        <p:grpSpPr>
          <a:xfrm>
            <a:off x="6275388" y="5741792"/>
            <a:ext cx="5454500" cy="431800"/>
            <a:chOff x="6294307" y="5747866"/>
            <a:chExt cx="5454500" cy="431800"/>
          </a:xfrm>
        </p:grpSpPr>
        <p:sp>
          <p:nvSpPr>
            <p:cNvPr id="134" name="Rectangle 133">
              <a:extLst>
                <a:ext uri="{FF2B5EF4-FFF2-40B4-BE49-F238E27FC236}">
                  <a16:creationId xmlns:a16="http://schemas.microsoft.com/office/drawing/2014/main" id="{EC10BD46-8FB2-8393-FEC4-880171E7053A}"/>
                </a:ext>
              </a:extLst>
            </p:cNvPr>
            <p:cNvSpPr/>
            <p:nvPr/>
          </p:nvSpPr>
          <p:spPr>
            <a:xfrm>
              <a:off x="6982753" y="5766122"/>
              <a:ext cx="476605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a:solidFill>
                    <a:srgbClr val="212529"/>
                  </a:solidFill>
                </a:rPr>
                <a:t>Drinking water</a:t>
              </a:r>
            </a:p>
          </p:txBody>
        </p:sp>
        <p:sp>
          <p:nvSpPr>
            <p:cNvPr id="149" name="Rectangle 148">
              <a:extLst>
                <a:ext uri="{FF2B5EF4-FFF2-40B4-BE49-F238E27FC236}">
                  <a16:creationId xmlns:a16="http://schemas.microsoft.com/office/drawing/2014/main" id="{35855442-2457-55F4-0452-5CC740315908}"/>
                </a:ext>
              </a:extLst>
            </p:cNvPr>
            <p:cNvSpPr/>
            <p:nvPr/>
          </p:nvSpPr>
          <p:spPr>
            <a:xfrm>
              <a:off x="6294307" y="5747866"/>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50" name="L-Shape 149">
              <a:extLst>
                <a:ext uri="{FF2B5EF4-FFF2-40B4-BE49-F238E27FC236}">
                  <a16:creationId xmlns:a16="http://schemas.microsoft.com/office/drawing/2014/main" id="{66CE9B33-23AB-C370-893E-885C2B8AC857}"/>
                </a:ext>
              </a:extLst>
            </p:cNvPr>
            <p:cNvSpPr/>
            <p:nvPr/>
          </p:nvSpPr>
          <p:spPr>
            <a:xfrm rot="13500000">
              <a:off x="6429116" y="582737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30" name="Group 29">
            <a:extLst>
              <a:ext uri="{FF2B5EF4-FFF2-40B4-BE49-F238E27FC236}">
                <a16:creationId xmlns:a16="http://schemas.microsoft.com/office/drawing/2014/main" id="{F64BAC4C-DA2D-C04B-A3D7-E83446974125}"/>
              </a:ext>
            </a:extLst>
          </p:cNvPr>
          <p:cNvGrpSpPr/>
          <p:nvPr/>
        </p:nvGrpSpPr>
        <p:grpSpPr>
          <a:xfrm>
            <a:off x="6275388" y="4192181"/>
            <a:ext cx="5454500" cy="431800"/>
            <a:chOff x="6294307" y="4196083"/>
            <a:chExt cx="5454500" cy="431800"/>
          </a:xfrm>
        </p:grpSpPr>
        <p:sp>
          <p:nvSpPr>
            <p:cNvPr id="113" name="Rectangle 112">
              <a:extLst>
                <a:ext uri="{FF2B5EF4-FFF2-40B4-BE49-F238E27FC236}">
                  <a16:creationId xmlns:a16="http://schemas.microsoft.com/office/drawing/2014/main" id="{1C8AA94D-6326-E1A4-9FD5-EEFABDA0A9E6}"/>
                </a:ext>
              </a:extLst>
            </p:cNvPr>
            <p:cNvSpPr/>
            <p:nvPr/>
          </p:nvSpPr>
          <p:spPr>
            <a:xfrm>
              <a:off x="6982753" y="4214339"/>
              <a:ext cx="476605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tx1"/>
                  </a:solidFill>
                </a:rPr>
                <a:t>Sleeping bag or blanket, camping mat, preferably tent</a:t>
              </a:r>
            </a:p>
          </p:txBody>
        </p:sp>
        <p:sp>
          <p:nvSpPr>
            <p:cNvPr id="151" name="Rectangle 150">
              <a:extLst>
                <a:ext uri="{FF2B5EF4-FFF2-40B4-BE49-F238E27FC236}">
                  <a16:creationId xmlns:a16="http://schemas.microsoft.com/office/drawing/2014/main" id="{D9D06C68-9D59-46B0-4762-AB2451365F8C}"/>
                </a:ext>
              </a:extLst>
            </p:cNvPr>
            <p:cNvSpPr/>
            <p:nvPr/>
          </p:nvSpPr>
          <p:spPr>
            <a:xfrm>
              <a:off x="6294307" y="4196083"/>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52" name="L-Shape 151">
              <a:extLst>
                <a:ext uri="{FF2B5EF4-FFF2-40B4-BE49-F238E27FC236}">
                  <a16:creationId xmlns:a16="http://schemas.microsoft.com/office/drawing/2014/main" id="{22DB69AA-7D7C-AC8D-7DE1-99197C0DF9B8}"/>
                </a:ext>
              </a:extLst>
            </p:cNvPr>
            <p:cNvSpPr/>
            <p:nvPr/>
          </p:nvSpPr>
          <p:spPr>
            <a:xfrm rot="13500000">
              <a:off x="6429116" y="427559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38" name="Group 37">
            <a:extLst>
              <a:ext uri="{FF2B5EF4-FFF2-40B4-BE49-F238E27FC236}">
                <a16:creationId xmlns:a16="http://schemas.microsoft.com/office/drawing/2014/main" id="{6B8968CD-EBC5-8BBB-12E2-E8D038CF46D3}"/>
              </a:ext>
            </a:extLst>
          </p:cNvPr>
          <p:cNvGrpSpPr/>
          <p:nvPr/>
        </p:nvGrpSpPr>
        <p:grpSpPr>
          <a:xfrm>
            <a:off x="6275388" y="5225253"/>
            <a:ext cx="5454500" cy="431800"/>
            <a:chOff x="6294307" y="5230605"/>
            <a:chExt cx="5454500" cy="431800"/>
          </a:xfrm>
        </p:grpSpPr>
        <p:sp>
          <p:nvSpPr>
            <p:cNvPr id="115" name="Rectangle 114">
              <a:extLst>
                <a:ext uri="{FF2B5EF4-FFF2-40B4-BE49-F238E27FC236}">
                  <a16:creationId xmlns:a16="http://schemas.microsoft.com/office/drawing/2014/main" id="{C14EEC2A-B1B5-2F49-3BF1-0AE6DC6E5AF0}"/>
                </a:ext>
              </a:extLst>
            </p:cNvPr>
            <p:cNvSpPr/>
            <p:nvPr/>
          </p:nvSpPr>
          <p:spPr>
            <a:xfrm>
              <a:off x="6982753" y="5248861"/>
              <a:ext cx="4766054"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a:solidFill>
                    <a:srgbClr val="212529"/>
                  </a:solidFill>
                </a:rPr>
                <a:t>Food which may be consumed without cooking</a:t>
              </a:r>
              <a:br>
                <a:rPr lang="en-US" sz="1400">
                  <a:solidFill>
                    <a:srgbClr val="212529"/>
                  </a:solidFill>
                </a:rPr>
              </a:br>
              <a:r>
                <a:rPr lang="en-gb" sz="1400">
                  <a:solidFill>
                    <a:srgbClr val="212529"/>
                  </a:solidFill>
                </a:rPr>
                <a:t>and with a long shelf life</a:t>
              </a:r>
            </a:p>
          </p:txBody>
        </p:sp>
        <p:sp>
          <p:nvSpPr>
            <p:cNvPr id="153" name="Rectangle 152">
              <a:extLst>
                <a:ext uri="{FF2B5EF4-FFF2-40B4-BE49-F238E27FC236}">
                  <a16:creationId xmlns:a16="http://schemas.microsoft.com/office/drawing/2014/main" id="{AFF62DC7-A18C-39D3-FC33-0607863B7E7F}"/>
                </a:ext>
              </a:extLst>
            </p:cNvPr>
            <p:cNvSpPr/>
            <p:nvPr/>
          </p:nvSpPr>
          <p:spPr>
            <a:xfrm>
              <a:off x="6294307" y="5230605"/>
              <a:ext cx="576263" cy="4318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54" name="L-Shape 153">
              <a:extLst>
                <a:ext uri="{FF2B5EF4-FFF2-40B4-BE49-F238E27FC236}">
                  <a16:creationId xmlns:a16="http://schemas.microsoft.com/office/drawing/2014/main" id="{849C1DEB-8F80-05F8-1E3B-1D75D978E205}"/>
                </a:ext>
              </a:extLst>
            </p:cNvPr>
            <p:cNvSpPr/>
            <p:nvPr/>
          </p:nvSpPr>
          <p:spPr>
            <a:xfrm rot="13500000">
              <a:off x="6429116" y="53101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grpSp>
        <p:nvGrpSpPr>
          <p:cNvPr id="27" name="Group 26">
            <a:extLst>
              <a:ext uri="{FF2B5EF4-FFF2-40B4-BE49-F238E27FC236}">
                <a16:creationId xmlns:a16="http://schemas.microsoft.com/office/drawing/2014/main" id="{F4E244C8-2586-B05C-DCD4-BC7E0201394E}"/>
              </a:ext>
            </a:extLst>
          </p:cNvPr>
          <p:cNvGrpSpPr/>
          <p:nvPr/>
        </p:nvGrpSpPr>
        <p:grpSpPr>
          <a:xfrm>
            <a:off x="6275388" y="3160964"/>
            <a:ext cx="5454781" cy="432397"/>
            <a:chOff x="6294307" y="3160964"/>
            <a:chExt cx="5454781" cy="432397"/>
          </a:xfrm>
        </p:grpSpPr>
        <p:sp>
          <p:nvSpPr>
            <p:cNvPr id="107" name="Rectangle 106">
              <a:extLst>
                <a:ext uri="{FF2B5EF4-FFF2-40B4-BE49-F238E27FC236}">
                  <a16:creationId xmlns:a16="http://schemas.microsoft.com/office/drawing/2014/main" id="{DDE0F37C-AEE2-8B34-A581-158D9D35DE81}"/>
                </a:ext>
              </a:extLst>
            </p:cNvPr>
            <p:cNvSpPr/>
            <p:nvPr/>
          </p:nvSpPr>
          <p:spPr>
            <a:xfrm>
              <a:off x="6983413" y="3179518"/>
              <a:ext cx="4765675" cy="395288"/>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tx1"/>
                  </a:solidFill>
                </a:rPr>
                <a:t>Clothing, spare underwear</a:t>
              </a:r>
            </a:p>
          </p:txBody>
        </p:sp>
        <p:sp>
          <p:nvSpPr>
            <p:cNvPr id="155" name="Rectangle 154">
              <a:extLst>
                <a:ext uri="{FF2B5EF4-FFF2-40B4-BE49-F238E27FC236}">
                  <a16:creationId xmlns:a16="http://schemas.microsoft.com/office/drawing/2014/main" id="{008B1A32-C98D-BE04-DD6A-56803A6120BE}"/>
                </a:ext>
              </a:extLst>
            </p:cNvPr>
            <p:cNvSpPr/>
            <p:nvPr/>
          </p:nvSpPr>
          <p:spPr>
            <a:xfrm>
              <a:off x="6294307" y="3160964"/>
              <a:ext cx="576263" cy="43239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56" name="L-Shape 155">
              <a:extLst>
                <a:ext uri="{FF2B5EF4-FFF2-40B4-BE49-F238E27FC236}">
                  <a16:creationId xmlns:a16="http://schemas.microsoft.com/office/drawing/2014/main" id="{4903EDFA-BFF2-B29C-038B-F8DDC3D7FF43}"/>
                </a:ext>
              </a:extLst>
            </p:cNvPr>
            <p:cNvSpPr/>
            <p:nvPr/>
          </p:nvSpPr>
          <p:spPr>
            <a:xfrm rot="13500000">
              <a:off x="6429116" y="324077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400"/>
            </a:p>
          </p:txBody>
        </p:sp>
      </p:grpSp>
      <p:cxnSp>
        <p:nvCxnSpPr>
          <p:cNvPr id="14" name="Straight Connector 13">
            <a:extLst>
              <a:ext uri="{FF2B5EF4-FFF2-40B4-BE49-F238E27FC236}">
                <a16:creationId xmlns:a16="http://schemas.microsoft.com/office/drawing/2014/main" id="{19C8F992-5A7D-F311-1E82-1949C40D7E4D}"/>
              </a:ext>
            </a:extLst>
          </p:cNvPr>
          <p:cNvCxnSpPr>
            <a:cxnSpLocks/>
          </p:cNvCxnSpPr>
          <p:nvPr/>
        </p:nvCxnSpPr>
        <p:spPr>
          <a:xfrm>
            <a:off x="6927849" y="3633788"/>
            <a:ext cx="4827588"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3853695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4814B7D5-547D-3226-2475-DFF7002987A0}"/>
              </a:ext>
            </a:extLst>
          </p:cNvPr>
          <p:cNvGraphicFramePr>
            <a:graphicFrameLocks noChangeAspect="1"/>
          </p:cNvGraphicFramePr>
          <p:nvPr>
            <p:custDataLst>
              <p:tags r:id="rId1"/>
            </p:custDataLst>
            <p:extLst>
              <p:ext uri="{D42A27DB-BD31-4B8C-83A1-F6EECF244321}">
                <p14:modId xmlns:p14="http://schemas.microsoft.com/office/powerpoint/2010/main" val="319408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21" name="think-cell data - do not delete" hidden="1">
                        <a:extLst>
                          <a:ext uri="{FF2B5EF4-FFF2-40B4-BE49-F238E27FC236}">
                            <a16:creationId xmlns:a16="http://schemas.microsoft.com/office/drawing/2014/main" id="{4814B7D5-547D-3226-2475-DFF7002987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9" name="Straight Connector 48">
            <a:extLst>
              <a:ext uri="{FF2B5EF4-FFF2-40B4-BE49-F238E27FC236}">
                <a16:creationId xmlns:a16="http://schemas.microsoft.com/office/drawing/2014/main" id="{DE4C088D-E399-9F6B-F572-CB955A850CB7}"/>
              </a:ext>
            </a:extLst>
          </p:cNvPr>
          <p:cNvCxnSpPr>
            <a:cxnSpLocks/>
          </p:cNvCxnSpPr>
          <p:nvPr/>
        </p:nvCxnSpPr>
        <p:spPr>
          <a:xfrm>
            <a:off x="1107653" y="5638441"/>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76" name="Group 75">
            <a:extLst>
              <a:ext uri="{FF2B5EF4-FFF2-40B4-BE49-F238E27FC236}">
                <a16:creationId xmlns:a16="http://schemas.microsoft.com/office/drawing/2014/main" id="{36D472C7-EE99-73DD-2533-458FDF3BA99F}"/>
              </a:ext>
            </a:extLst>
          </p:cNvPr>
          <p:cNvGrpSpPr/>
          <p:nvPr/>
        </p:nvGrpSpPr>
        <p:grpSpPr>
          <a:xfrm>
            <a:off x="442913" y="3326552"/>
            <a:ext cx="5473700" cy="470726"/>
            <a:chOff x="442913" y="3072158"/>
            <a:chExt cx="5473700" cy="470726"/>
          </a:xfrm>
        </p:grpSpPr>
        <p:sp>
          <p:nvSpPr>
            <p:cNvPr id="57" name="Rectangle 56">
              <a:extLst>
                <a:ext uri="{FF2B5EF4-FFF2-40B4-BE49-F238E27FC236}">
                  <a16:creationId xmlns:a16="http://schemas.microsoft.com/office/drawing/2014/main" id="{A073C5EE-5299-ADD0-94D7-3170276FA166}"/>
                </a:ext>
              </a:extLst>
            </p:cNvPr>
            <p:cNvSpPr/>
            <p:nvPr/>
          </p:nvSpPr>
          <p:spPr>
            <a:xfrm>
              <a:off x="442913" y="3072158"/>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2" name="Rectangle 51">
              <a:extLst>
                <a:ext uri="{FF2B5EF4-FFF2-40B4-BE49-F238E27FC236}">
                  <a16:creationId xmlns:a16="http://schemas.microsoft.com/office/drawing/2014/main" id="{54140961-D367-FFB1-E0FC-3F385487D472}"/>
                </a:ext>
              </a:extLst>
            </p:cNvPr>
            <p:cNvSpPr/>
            <p:nvPr/>
          </p:nvSpPr>
          <p:spPr>
            <a:xfrm>
              <a:off x="1107653" y="3091521"/>
              <a:ext cx="4808960" cy="43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dirty="0">
                  <a:solidFill>
                    <a:schemeClr val="tx1"/>
                  </a:solidFill>
                  <a:effectLst/>
                </a:rPr>
                <a:t>Drinking water and water for other uses (</a:t>
              </a:r>
              <a:r>
                <a:rPr lang="en-gb" sz="1400" b="0" i="0" dirty="0" err="1">
                  <a:solidFill>
                    <a:schemeClr val="tx1"/>
                  </a:solidFill>
                  <a:effectLst/>
                </a:rPr>
                <a:t>e.g</a:t>
              </a:r>
              <a:r>
                <a:rPr lang="lv-LV" sz="1400" b="0" i="0" dirty="0">
                  <a:solidFill>
                    <a:schemeClr val="tx1"/>
                  </a:solidFill>
                  <a:effectLst/>
                </a:rPr>
                <a:t>.</a:t>
              </a:r>
              <a:r>
                <a:rPr lang="en-gb" sz="1400" dirty="0">
                  <a:solidFill>
                    <a:schemeClr val="tx1"/>
                  </a:solidFill>
                </a:rPr>
                <a:t>,</a:t>
              </a:r>
            </a:p>
            <a:p>
              <a:pPr algn="l" rtl="0"/>
              <a:r>
                <a:rPr lang="en-gb" sz="1400" b="0" i="0" dirty="0">
                  <a:solidFill>
                    <a:schemeClr val="tx1"/>
                  </a:solidFill>
                  <a:effectLst/>
                </a:rPr>
                <a:t>for washing)</a:t>
              </a:r>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317113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59" name="Straight Connector 58">
            <a:extLst>
              <a:ext uri="{FF2B5EF4-FFF2-40B4-BE49-F238E27FC236}">
                <a16:creationId xmlns:a16="http://schemas.microsoft.com/office/drawing/2014/main" id="{7E500747-C848-E521-FDAE-12CD91281C7E}"/>
              </a:ext>
            </a:extLst>
          </p:cNvPr>
          <p:cNvCxnSpPr>
            <a:cxnSpLocks/>
          </p:cNvCxnSpPr>
          <p:nvPr/>
        </p:nvCxnSpPr>
        <p:spPr>
          <a:xfrm>
            <a:off x="1107653" y="3857861"/>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dirty="0"/>
              <a:t>Home </a:t>
            </a:r>
            <a:r>
              <a:rPr lang="lv-LV" dirty="0" err="1"/>
              <a:t>emergency</a:t>
            </a:r>
            <a:r>
              <a:rPr lang="lv-LV" dirty="0"/>
              <a:t> </a:t>
            </a:r>
            <a:r>
              <a:rPr lang="lv-LV" dirty="0" err="1"/>
              <a:t>kit</a:t>
            </a:r>
            <a:br>
              <a:rPr lang="lv-LV" dirty="0"/>
            </a:br>
            <a:endParaRPr lang="en-GB" dirty="0">
              <a:solidFill>
                <a:srgbClr val="A8192D"/>
              </a:solidFill>
            </a:endParaRPr>
          </a:p>
        </p:txBody>
      </p:sp>
      <p:cxnSp>
        <p:nvCxnSpPr>
          <p:cNvPr id="6" name="Straight Connector 5">
            <a:extLst>
              <a:ext uri="{FF2B5EF4-FFF2-40B4-BE49-F238E27FC236}">
                <a16:creationId xmlns:a16="http://schemas.microsoft.com/office/drawing/2014/main" id="{AA7A7FA2-43EB-E10E-9DB9-8125FF1E58FC}"/>
              </a:ext>
            </a:extLst>
          </p:cNvPr>
          <p:cNvCxnSpPr>
            <a:cxnSpLocks/>
          </p:cNvCxnSpPr>
          <p:nvPr/>
        </p:nvCxnSpPr>
        <p:spPr>
          <a:xfrm>
            <a:off x="1107653" y="4449753"/>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60508230-2256-BEAC-3F1B-1FBD12640BF7}"/>
              </a:ext>
            </a:extLst>
          </p:cNvPr>
          <p:cNvCxnSpPr>
            <a:cxnSpLocks/>
          </p:cNvCxnSpPr>
          <p:nvPr/>
        </p:nvCxnSpPr>
        <p:spPr>
          <a:xfrm>
            <a:off x="1108075" y="504409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1E7CC1BC-C16B-82D6-0EA2-3A181E8600F1}"/>
              </a:ext>
            </a:extLst>
          </p:cNvPr>
          <p:cNvCxnSpPr>
            <a:cxnSpLocks/>
          </p:cNvCxnSpPr>
          <p:nvPr/>
        </p:nvCxnSpPr>
        <p:spPr>
          <a:xfrm>
            <a:off x="6940549" y="385788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77" name="Group 76">
            <a:extLst>
              <a:ext uri="{FF2B5EF4-FFF2-40B4-BE49-F238E27FC236}">
                <a16:creationId xmlns:a16="http://schemas.microsoft.com/office/drawing/2014/main" id="{E72D5656-A1E0-4795-B2AE-7E920581FE77}"/>
              </a:ext>
            </a:extLst>
          </p:cNvPr>
          <p:cNvGrpSpPr/>
          <p:nvPr/>
        </p:nvGrpSpPr>
        <p:grpSpPr>
          <a:xfrm>
            <a:off x="442913" y="3918444"/>
            <a:ext cx="5473278" cy="470726"/>
            <a:chOff x="442913" y="3716738"/>
            <a:chExt cx="5473278" cy="470726"/>
          </a:xfrm>
        </p:grpSpPr>
        <p:sp>
          <p:nvSpPr>
            <p:cNvPr id="72" name="Rectangle 71">
              <a:extLst>
                <a:ext uri="{FF2B5EF4-FFF2-40B4-BE49-F238E27FC236}">
                  <a16:creationId xmlns:a16="http://schemas.microsoft.com/office/drawing/2014/main" id="{2543AFCA-7DBC-4F76-9DA2-D2643AE45BA9}"/>
                </a:ext>
              </a:extLst>
            </p:cNvPr>
            <p:cNvSpPr/>
            <p:nvPr/>
          </p:nvSpPr>
          <p:spPr>
            <a:xfrm>
              <a:off x="442913" y="3716738"/>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0" name="Rectangle 39">
              <a:extLst>
                <a:ext uri="{FF2B5EF4-FFF2-40B4-BE49-F238E27FC236}">
                  <a16:creationId xmlns:a16="http://schemas.microsoft.com/office/drawing/2014/main" id="{0397F1B3-1DAC-781B-5BE5-08FA024DC19C}"/>
                </a:ext>
              </a:extLst>
            </p:cNvPr>
            <p:cNvSpPr/>
            <p:nvPr/>
          </p:nvSpPr>
          <p:spPr>
            <a:xfrm>
              <a:off x="1107653" y="3736201"/>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Products with a long shelf life</a:t>
              </a:r>
              <a:endParaRPr lang="lv-LV" sz="1400" b="0" i="0">
                <a:solidFill>
                  <a:schemeClr val="tx1"/>
                </a:solidFill>
                <a:effectLst/>
              </a:endParaRPr>
            </a:p>
          </p:txBody>
        </p:sp>
        <p:sp>
          <p:nvSpPr>
            <p:cNvPr id="73" name="L-Shape 72">
              <a:extLst>
                <a:ext uri="{FF2B5EF4-FFF2-40B4-BE49-F238E27FC236}">
                  <a16:creationId xmlns:a16="http://schemas.microsoft.com/office/drawing/2014/main" id="{C3973224-0FDE-AB92-CA48-254692E39197}"/>
                </a:ext>
              </a:extLst>
            </p:cNvPr>
            <p:cNvSpPr/>
            <p:nvPr/>
          </p:nvSpPr>
          <p:spPr>
            <a:xfrm rot="13500000">
              <a:off x="559307" y="381571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78" name="Group 77">
            <a:extLst>
              <a:ext uri="{FF2B5EF4-FFF2-40B4-BE49-F238E27FC236}">
                <a16:creationId xmlns:a16="http://schemas.microsoft.com/office/drawing/2014/main" id="{1753ADC5-21EE-FD32-F4A3-6A5C49B5982A}"/>
              </a:ext>
            </a:extLst>
          </p:cNvPr>
          <p:cNvGrpSpPr/>
          <p:nvPr/>
        </p:nvGrpSpPr>
        <p:grpSpPr>
          <a:xfrm>
            <a:off x="442913" y="4512788"/>
            <a:ext cx="5473278" cy="470726"/>
            <a:chOff x="442913" y="4363770"/>
            <a:chExt cx="5473278" cy="470726"/>
          </a:xfrm>
        </p:grpSpPr>
        <p:sp>
          <p:nvSpPr>
            <p:cNvPr id="79" name="Rectangle 78">
              <a:extLst>
                <a:ext uri="{FF2B5EF4-FFF2-40B4-BE49-F238E27FC236}">
                  <a16:creationId xmlns:a16="http://schemas.microsoft.com/office/drawing/2014/main" id="{33E6C1AD-B972-C1DB-5544-0E474CB14E21}"/>
                </a:ext>
              </a:extLst>
            </p:cNvPr>
            <p:cNvSpPr/>
            <p:nvPr/>
          </p:nvSpPr>
          <p:spPr>
            <a:xfrm>
              <a:off x="442913" y="4363770"/>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1" name="Rectangle 40">
              <a:extLst>
                <a:ext uri="{FF2B5EF4-FFF2-40B4-BE49-F238E27FC236}">
                  <a16:creationId xmlns:a16="http://schemas.microsoft.com/office/drawing/2014/main" id="{66A14158-E11A-E312-8696-ADD9D0E04629}"/>
                </a:ext>
              </a:extLst>
            </p:cNvPr>
            <p:cNvSpPr/>
            <p:nvPr/>
          </p:nvSpPr>
          <p:spPr>
            <a:xfrm>
              <a:off x="1107653" y="4383233"/>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First aid kit</a:t>
              </a:r>
            </a:p>
          </p:txBody>
        </p:sp>
        <p:sp>
          <p:nvSpPr>
            <p:cNvPr id="80" name="L-Shape 79">
              <a:extLst>
                <a:ext uri="{FF2B5EF4-FFF2-40B4-BE49-F238E27FC236}">
                  <a16:creationId xmlns:a16="http://schemas.microsoft.com/office/drawing/2014/main" id="{19338F7A-E7EA-96BA-EA8F-E1DB08E2C178}"/>
                </a:ext>
              </a:extLst>
            </p:cNvPr>
            <p:cNvSpPr/>
            <p:nvPr/>
          </p:nvSpPr>
          <p:spPr>
            <a:xfrm rot="13500000">
              <a:off x="559307" y="446274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1" name="Group 80">
            <a:extLst>
              <a:ext uri="{FF2B5EF4-FFF2-40B4-BE49-F238E27FC236}">
                <a16:creationId xmlns:a16="http://schemas.microsoft.com/office/drawing/2014/main" id="{3F9F86A0-A224-5EC4-FD63-BAC54844E8DD}"/>
              </a:ext>
            </a:extLst>
          </p:cNvPr>
          <p:cNvGrpSpPr/>
          <p:nvPr/>
        </p:nvGrpSpPr>
        <p:grpSpPr>
          <a:xfrm>
            <a:off x="442913" y="5107132"/>
            <a:ext cx="5473278" cy="470726"/>
            <a:chOff x="442913" y="5010802"/>
            <a:chExt cx="5473278" cy="470726"/>
          </a:xfrm>
        </p:grpSpPr>
        <p:sp>
          <p:nvSpPr>
            <p:cNvPr id="83" name="Rectangle 82">
              <a:extLst>
                <a:ext uri="{FF2B5EF4-FFF2-40B4-BE49-F238E27FC236}">
                  <a16:creationId xmlns:a16="http://schemas.microsoft.com/office/drawing/2014/main" id="{85C12B75-1D6E-881F-E30B-68674AFA8E56}"/>
                </a:ext>
              </a:extLst>
            </p:cNvPr>
            <p:cNvSpPr/>
            <p:nvPr/>
          </p:nvSpPr>
          <p:spPr>
            <a:xfrm>
              <a:off x="442913" y="5010802"/>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2" name="Rectangle 41">
              <a:extLst>
                <a:ext uri="{FF2B5EF4-FFF2-40B4-BE49-F238E27FC236}">
                  <a16:creationId xmlns:a16="http://schemas.microsoft.com/office/drawing/2014/main" id="{986F6EBD-76CF-AA8A-DC11-0900DE8A8EB0}"/>
                </a:ext>
              </a:extLst>
            </p:cNvPr>
            <p:cNvSpPr/>
            <p:nvPr/>
          </p:nvSpPr>
          <p:spPr>
            <a:xfrm>
              <a:off x="1107653" y="5030265"/>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dirty="0">
                  <a:solidFill>
                    <a:schemeClr val="tx1"/>
                  </a:solidFill>
                  <a:effectLst/>
                </a:rPr>
                <a:t>Pocket torches, spare batteries or accumulators</a:t>
              </a:r>
              <a:r>
                <a:rPr lang="lv-LV" sz="1400" b="0" i="0" dirty="0">
                  <a:solidFill>
                    <a:schemeClr val="tx1"/>
                  </a:solidFill>
                  <a:effectLst/>
                </a:rPr>
                <a:t> </a:t>
              </a:r>
              <a:r>
                <a:rPr lang="lv-LV" sz="1400" b="0" i="0" dirty="0" err="1">
                  <a:solidFill>
                    <a:schemeClr val="tx1"/>
                  </a:solidFill>
                  <a:effectLst/>
                </a:rPr>
                <a:t>for</a:t>
              </a:r>
              <a:r>
                <a:rPr lang="lv-LV" sz="1400" b="0" i="0" dirty="0">
                  <a:solidFill>
                    <a:schemeClr val="tx1"/>
                  </a:solidFill>
                  <a:effectLst/>
                </a:rPr>
                <a:t> </a:t>
              </a:r>
              <a:r>
                <a:rPr lang="lv-LV" sz="1400" b="0" i="0" dirty="0" err="1">
                  <a:solidFill>
                    <a:schemeClr val="tx1"/>
                  </a:solidFill>
                  <a:effectLst/>
                </a:rPr>
                <a:t>them</a:t>
              </a:r>
              <a:r>
                <a:rPr lang="en-gb" sz="1400" b="0" i="0" dirty="0">
                  <a:solidFill>
                    <a:schemeClr val="tx1"/>
                  </a:solidFill>
                  <a:effectLst/>
                </a:rPr>
                <a:t>, candles</a:t>
              </a:r>
            </a:p>
          </p:txBody>
        </p:sp>
        <p:sp>
          <p:nvSpPr>
            <p:cNvPr id="84" name="L-Shape 83">
              <a:extLst>
                <a:ext uri="{FF2B5EF4-FFF2-40B4-BE49-F238E27FC236}">
                  <a16:creationId xmlns:a16="http://schemas.microsoft.com/office/drawing/2014/main" id="{7F96781D-05E5-6540-1293-76F097AE987A}"/>
                </a:ext>
              </a:extLst>
            </p:cNvPr>
            <p:cNvSpPr/>
            <p:nvPr/>
          </p:nvSpPr>
          <p:spPr>
            <a:xfrm rot="13500000">
              <a:off x="559307" y="510977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2" name="Group 81">
            <a:extLst>
              <a:ext uri="{FF2B5EF4-FFF2-40B4-BE49-F238E27FC236}">
                <a16:creationId xmlns:a16="http://schemas.microsoft.com/office/drawing/2014/main" id="{93D3D9D3-E021-C5C7-0D3D-B783A24C2082}"/>
              </a:ext>
            </a:extLst>
          </p:cNvPr>
          <p:cNvGrpSpPr/>
          <p:nvPr/>
        </p:nvGrpSpPr>
        <p:grpSpPr>
          <a:xfrm>
            <a:off x="442913" y="5701474"/>
            <a:ext cx="5473279" cy="470726"/>
            <a:chOff x="442913" y="5657837"/>
            <a:chExt cx="5473279" cy="470726"/>
          </a:xfrm>
        </p:grpSpPr>
        <p:sp>
          <p:nvSpPr>
            <p:cNvPr id="89" name="Rectangle 88">
              <a:extLst>
                <a:ext uri="{FF2B5EF4-FFF2-40B4-BE49-F238E27FC236}">
                  <a16:creationId xmlns:a16="http://schemas.microsoft.com/office/drawing/2014/main" id="{7AD0F22C-299C-4471-6C33-C68875EFE67F}"/>
                </a:ext>
              </a:extLst>
            </p:cNvPr>
            <p:cNvSpPr/>
            <p:nvPr/>
          </p:nvSpPr>
          <p:spPr>
            <a:xfrm>
              <a:off x="442913" y="5657837"/>
              <a:ext cx="576263" cy="47072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0" name="Rectangle 19">
              <a:extLst>
                <a:ext uri="{FF2B5EF4-FFF2-40B4-BE49-F238E27FC236}">
                  <a16:creationId xmlns:a16="http://schemas.microsoft.com/office/drawing/2014/main" id="{A4EAD244-3E35-CF16-9610-C9DD5B3A3D07}"/>
                </a:ext>
              </a:extLst>
            </p:cNvPr>
            <p:cNvSpPr/>
            <p:nvPr/>
          </p:nvSpPr>
          <p:spPr>
            <a:xfrm>
              <a:off x="1107654" y="5677300"/>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rgbClr val="212529"/>
                  </a:solidFill>
                </a:rPr>
                <a:t>Gas</a:t>
              </a:r>
              <a:r>
                <a:rPr lang="en-gb" sz="1400" b="0" i="0">
                  <a:solidFill>
                    <a:srgbClr val="212529"/>
                  </a:solidFill>
                  <a:effectLst/>
                </a:rPr>
                <a:t>burner with spare gas cylinders for cooking or other fuel stove</a:t>
              </a:r>
            </a:p>
          </p:txBody>
        </p:sp>
        <p:sp>
          <p:nvSpPr>
            <p:cNvPr id="90" name="L-Shape 89">
              <a:extLst>
                <a:ext uri="{FF2B5EF4-FFF2-40B4-BE49-F238E27FC236}">
                  <a16:creationId xmlns:a16="http://schemas.microsoft.com/office/drawing/2014/main" id="{0585702B-566A-3A03-DCD7-3B43A25AAD0D}"/>
                </a:ext>
              </a:extLst>
            </p:cNvPr>
            <p:cNvSpPr/>
            <p:nvPr/>
          </p:nvSpPr>
          <p:spPr>
            <a:xfrm rot="13500000">
              <a:off x="559307" y="575681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5" name="Group 84">
            <a:extLst>
              <a:ext uri="{FF2B5EF4-FFF2-40B4-BE49-F238E27FC236}">
                <a16:creationId xmlns:a16="http://schemas.microsoft.com/office/drawing/2014/main" id="{57AD1D61-D676-F338-2587-50E03B50E65A}"/>
              </a:ext>
            </a:extLst>
          </p:cNvPr>
          <p:cNvGrpSpPr/>
          <p:nvPr/>
        </p:nvGrpSpPr>
        <p:grpSpPr>
          <a:xfrm>
            <a:off x="6275810" y="3327216"/>
            <a:ext cx="5473278" cy="470062"/>
            <a:chOff x="6275810" y="3072312"/>
            <a:chExt cx="5473278" cy="470062"/>
          </a:xfrm>
        </p:grpSpPr>
        <p:sp>
          <p:nvSpPr>
            <p:cNvPr id="91" name="Rectangle 90">
              <a:extLst>
                <a:ext uri="{FF2B5EF4-FFF2-40B4-BE49-F238E27FC236}">
                  <a16:creationId xmlns:a16="http://schemas.microsoft.com/office/drawing/2014/main" id="{923ED525-0203-6BC5-F3E8-8ABB7C0A1DD9}"/>
                </a:ext>
              </a:extLst>
            </p:cNvPr>
            <p:cNvSpPr/>
            <p:nvPr/>
          </p:nvSpPr>
          <p:spPr>
            <a:xfrm>
              <a:off x="6275810" y="3072312"/>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4" name="Rectangle 63">
              <a:extLst>
                <a:ext uri="{FF2B5EF4-FFF2-40B4-BE49-F238E27FC236}">
                  <a16:creationId xmlns:a16="http://schemas.microsoft.com/office/drawing/2014/main" id="{C8839363-023E-6108-2610-F9869562BA65}"/>
                </a:ext>
              </a:extLst>
            </p:cNvPr>
            <p:cNvSpPr/>
            <p:nvPr/>
          </p:nvSpPr>
          <p:spPr>
            <a:xfrm>
              <a:off x="6940550" y="3091442"/>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Fire extinguisher</a:t>
              </a:r>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2204" y="317095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31</a:t>
            </a:fld>
            <a:endParaRPr lang="en-GB"/>
          </a:p>
        </p:txBody>
      </p:sp>
      <p:grpSp>
        <p:nvGrpSpPr>
          <p:cNvPr id="94" name="Group 93">
            <a:extLst>
              <a:ext uri="{FF2B5EF4-FFF2-40B4-BE49-F238E27FC236}">
                <a16:creationId xmlns:a16="http://schemas.microsoft.com/office/drawing/2014/main" id="{3BB46F0B-411D-7168-8D0B-E5E1A567F70C}"/>
              </a:ext>
            </a:extLst>
          </p:cNvPr>
          <p:cNvGrpSpPr/>
          <p:nvPr/>
        </p:nvGrpSpPr>
        <p:grpSpPr>
          <a:xfrm>
            <a:off x="442913" y="2654280"/>
            <a:ext cx="11306174" cy="576000"/>
            <a:chOff x="442913" y="2363572"/>
            <a:chExt cx="11306174" cy="576000"/>
          </a:xfrm>
        </p:grpSpPr>
        <p:sp>
          <p:nvSpPr>
            <p:cNvPr id="50" name="Rectangle 49">
              <a:extLst>
                <a:ext uri="{FF2B5EF4-FFF2-40B4-BE49-F238E27FC236}">
                  <a16:creationId xmlns:a16="http://schemas.microsoft.com/office/drawing/2014/main" id="{1E384B44-88CC-8F76-E9AF-DBDBDD24EECE}"/>
                </a:ext>
              </a:extLst>
            </p:cNvPr>
            <p:cNvSpPr/>
            <p:nvPr/>
          </p:nvSpPr>
          <p:spPr>
            <a:xfrm>
              <a:off x="442913" y="2363572"/>
              <a:ext cx="113061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Recommended reserves:</a:t>
              </a:r>
            </a:p>
          </p:txBody>
        </p:sp>
        <p:grpSp>
          <p:nvGrpSpPr>
            <p:cNvPr id="36" name="Group 35">
              <a:extLst>
                <a:ext uri="{FF2B5EF4-FFF2-40B4-BE49-F238E27FC236}">
                  <a16:creationId xmlns:a16="http://schemas.microsoft.com/office/drawing/2014/main" id="{E0C6B37A-9798-FF27-2562-5616D160FA0C}"/>
                </a:ext>
              </a:extLst>
            </p:cNvPr>
            <p:cNvGrpSpPr/>
            <p:nvPr/>
          </p:nvGrpSpPr>
          <p:grpSpPr>
            <a:xfrm>
              <a:off x="11102199" y="2363572"/>
              <a:ext cx="646888" cy="576000"/>
              <a:chOff x="5269725" y="1819275"/>
              <a:chExt cx="646888" cy="576000"/>
            </a:xfrm>
          </p:grpSpPr>
          <p:grpSp>
            <p:nvGrpSpPr>
              <p:cNvPr id="23" name="Google Shape;1039;p85">
                <a:extLst>
                  <a:ext uri="{FF2B5EF4-FFF2-40B4-BE49-F238E27FC236}">
                    <a16:creationId xmlns:a16="http://schemas.microsoft.com/office/drawing/2014/main" id="{C55D8B85-A904-322C-FBFB-D30D8C2CA33E}"/>
                  </a:ext>
                </a:extLst>
              </p:cNvPr>
              <p:cNvGrpSpPr/>
              <p:nvPr/>
            </p:nvGrpSpPr>
            <p:grpSpPr>
              <a:xfrm>
                <a:off x="5448312" y="1927243"/>
                <a:ext cx="360367" cy="360364"/>
                <a:chOff x="5098067" y="3792438"/>
                <a:chExt cx="456085" cy="455929"/>
              </a:xfrm>
              <a:solidFill>
                <a:schemeClr val="bg1"/>
              </a:solidFill>
            </p:grpSpPr>
            <p:sp>
              <p:nvSpPr>
                <p:cNvPr id="24" name="Google Shape;1040;p85">
                  <a:extLst>
                    <a:ext uri="{FF2B5EF4-FFF2-40B4-BE49-F238E27FC236}">
                      <a16:creationId xmlns:a16="http://schemas.microsoft.com/office/drawing/2014/main" id="{23A65001-D5D7-426E-CC57-F2CEBCBC48F4}"/>
                    </a:ext>
                  </a:extLst>
                </p:cNvPr>
                <p:cNvSpPr/>
                <p:nvPr/>
              </p:nvSpPr>
              <p:spPr>
                <a:xfrm>
                  <a:off x="5200791" y="4065964"/>
                  <a:ext cx="54962" cy="90046"/>
                </a:xfrm>
                <a:custGeom>
                  <a:avLst/>
                  <a:gdLst/>
                  <a:ahLst/>
                  <a:cxnLst/>
                  <a:rect l="l" t="t" r="r" b="b"/>
                  <a:pathLst>
                    <a:path w="54962" h="90046" extrusionOk="0">
                      <a:moveTo>
                        <a:pt x="49052" y="2501"/>
                      </a:moveTo>
                      <a:lnTo>
                        <a:pt x="48513" y="0"/>
                      </a:lnTo>
                      <a:lnTo>
                        <a:pt x="46518" y="1615"/>
                      </a:lnTo>
                      <a:cubicBezTo>
                        <a:pt x="35654" y="10417"/>
                        <a:pt x="9556" y="33055"/>
                        <a:pt x="1828" y="53540"/>
                      </a:cubicBezTo>
                      <a:lnTo>
                        <a:pt x="1448" y="54617"/>
                      </a:lnTo>
                      <a:cubicBezTo>
                        <a:pt x="-864" y="61316"/>
                        <a:pt x="-389" y="68656"/>
                        <a:pt x="2746" y="75007"/>
                      </a:cubicBezTo>
                      <a:cubicBezTo>
                        <a:pt x="5755" y="81387"/>
                        <a:pt x="11203" y="86294"/>
                        <a:pt x="17854" y="88622"/>
                      </a:cubicBezTo>
                      <a:cubicBezTo>
                        <a:pt x="20578" y="89565"/>
                        <a:pt x="23397" y="90046"/>
                        <a:pt x="26279" y="90046"/>
                      </a:cubicBezTo>
                      <a:cubicBezTo>
                        <a:pt x="30396" y="90027"/>
                        <a:pt x="34451" y="89065"/>
                        <a:pt x="38156" y="87228"/>
                      </a:cubicBezTo>
                      <a:cubicBezTo>
                        <a:pt x="44554" y="84167"/>
                        <a:pt x="49432" y="78686"/>
                        <a:pt x="51775" y="71999"/>
                      </a:cubicBezTo>
                      <a:lnTo>
                        <a:pt x="52124" y="70954"/>
                      </a:lnTo>
                      <a:cubicBezTo>
                        <a:pt x="58712" y="50057"/>
                        <a:pt x="52187" y="16116"/>
                        <a:pt x="49052" y="2501"/>
                      </a:cubicBezTo>
                      <a:close/>
                      <a:moveTo>
                        <a:pt x="15795" y="59049"/>
                      </a:moveTo>
                      <a:lnTo>
                        <a:pt x="15795" y="59049"/>
                      </a:lnTo>
                      <a:lnTo>
                        <a:pt x="17411" y="59271"/>
                      </a:lnTo>
                      <a:cubicBezTo>
                        <a:pt x="20800" y="50437"/>
                        <a:pt x="29636" y="40274"/>
                        <a:pt x="37206" y="32422"/>
                      </a:cubicBezTo>
                      <a:cubicBezTo>
                        <a:pt x="38410" y="43282"/>
                        <a:pt x="39011" y="56928"/>
                        <a:pt x="36129" y="66015"/>
                      </a:cubicBezTo>
                      <a:lnTo>
                        <a:pt x="36129" y="66553"/>
                      </a:lnTo>
                      <a:cubicBezTo>
                        <a:pt x="34260" y="71708"/>
                        <a:pt x="28686" y="74494"/>
                        <a:pt x="23460" y="72886"/>
                      </a:cubicBezTo>
                      <a:cubicBezTo>
                        <a:pt x="18329" y="71017"/>
                        <a:pt x="15542" y="65455"/>
                        <a:pt x="17126" y="60221"/>
                      </a:cubicBezTo>
                      <a:lnTo>
                        <a:pt x="17347" y="59651"/>
                      </a:lnTo>
                      <a:lnTo>
                        <a:pt x="15827" y="59144"/>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41;p85">
                  <a:extLst>
                    <a:ext uri="{FF2B5EF4-FFF2-40B4-BE49-F238E27FC236}">
                      <a16:creationId xmlns:a16="http://schemas.microsoft.com/office/drawing/2014/main" id="{E80A6376-CF9B-C197-B500-54BEB51A8047}"/>
                    </a:ext>
                  </a:extLst>
                </p:cNvPr>
                <p:cNvSpPr/>
                <p:nvPr/>
              </p:nvSpPr>
              <p:spPr>
                <a:xfrm>
                  <a:off x="5289022" y="4065964"/>
                  <a:ext cx="54953" cy="90046"/>
                </a:xfrm>
                <a:custGeom>
                  <a:avLst/>
                  <a:gdLst/>
                  <a:ahLst/>
                  <a:cxnLst/>
                  <a:rect l="l" t="t" r="r" b="b"/>
                  <a:pathLst>
                    <a:path w="54953" h="90046" extrusionOk="0">
                      <a:moveTo>
                        <a:pt x="49060" y="2501"/>
                      </a:moveTo>
                      <a:lnTo>
                        <a:pt x="48490" y="0"/>
                      </a:lnTo>
                      <a:lnTo>
                        <a:pt x="46527" y="1615"/>
                      </a:lnTo>
                      <a:cubicBezTo>
                        <a:pt x="35663" y="10417"/>
                        <a:pt x="9533" y="33055"/>
                        <a:pt x="1836" y="53540"/>
                      </a:cubicBezTo>
                      <a:cubicBezTo>
                        <a:pt x="1836" y="53825"/>
                        <a:pt x="1456" y="54522"/>
                        <a:pt x="1424" y="54617"/>
                      </a:cubicBezTo>
                      <a:cubicBezTo>
                        <a:pt x="-856" y="61316"/>
                        <a:pt x="-381" y="68649"/>
                        <a:pt x="2723" y="75007"/>
                      </a:cubicBezTo>
                      <a:cubicBezTo>
                        <a:pt x="5732" y="81384"/>
                        <a:pt x="11180" y="86288"/>
                        <a:pt x="17831" y="88622"/>
                      </a:cubicBezTo>
                      <a:cubicBezTo>
                        <a:pt x="20555" y="89562"/>
                        <a:pt x="23374" y="90043"/>
                        <a:pt x="26256" y="90046"/>
                      </a:cubicBezTo>
                      <a:cubicBezTo>
                        <a:pt x="30373" y="90027"/>
                        <a:pt x="34427" y="89065"/>
                        <a:pt x="38133" y="87228"/>
                      </a:cubicBezTo>
                      <a:cubicBezTo>
                        <a:pt x="44531" y="84176"/>
                        <a:pt x="49440" y="78689"/>
                        <a:pt x="51752" y="71999"/>
                      </a:cubicBezTo>
                      <a:cubicBezTo>
                        <a:pt x="51911" y="71660"/>
                        <a:pt x="52006" y="71312"/>
                        <a:pt x="52101" y="70954"/>
                      </a:cubicBezTo>
                      <a:cubicBezTo>
                        <a:pt x="58721" y="50057"/>
                        <a:pt x="52164" y="16116"/>
                        <a:pt x="49060" y="2501"/>
                      </a:cubicBezTo>
                      <a:close/>
                      <a:moveTo>
                        <a:pt x="15867" y="59049"/>
                      </a:moveTo>
                      <a:lnTo>
                        <a:pt x="15867" y="59049"/>
                      </a:lnTo>
                      <a:lnTo>
                        <a:pt x="17483" y="59271"/>
                      </a:lnTo>
                      <a:cubicBezTo>
                        <a:pt x="20871" y="50437"/>
                        <a:pt x="29677" y="40274"/>
                        <a:pt x="37278" y="32422"/>
                      </a:cubicBezTo>
                      <a:cubicBezTo>
                        <a:pt x="38482" y="43282"/>
                        <a:pt x="39083" y="56928"/>
                        <a:pt x="36201" y="66015"/>
                      </a:cubicBezTo>
                      <a:lnTo>
                        <a:pt x="36011" y="66553"/>
                      </a:lnTo>
                      <a:cubicBezTo>
                        <a:pt x="34174" y="71717"/>
                        <a:pt x="28568" y="74510"/>
                        <a:pt x="23342" y="72886"/>
                      </a:cubicBezTo>
                      <a:cubicBezTo>
                        <a:pt x="18274" y="70932"/>
                        <a:pt x="15614" y="65401"/>
                        <a:pt x="17198" y="60221"/>
                      </a:cubicBezTo>
                      <a:lnTo>
                        <a:pt x="17388" y="59651"/>
                      </a:lnTo>
                      <a:lnTo>
                        <a:pt x="15899" y="59144"/>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6" name="Google Shape;1042;p85">
                  <a:extLst>
                    <a:ext uri="{FF2B5EF4-FFF2-40B4-BE49-F238E27FC236}">
                      <a16:creationId xmlns:a16="http://schemas.microsoft.com/office/drawing/2014/main" id="{FB4DE30E-1F8C-37AC-C678-7204D066C518}"/>
                    </a:ext>
                  </a:extLst>
                </p:cNvPr>
                <p:cNvSpPr/>
                <p:nvPr/>
              </p:nvSpPr>
              <p:spPr>
                <a:xfrm>
                  <a:off x="5377239" y="4065964"/>
                  <a:ext cx="54963" cy="90046"/>
                </a:xfrm>
                <a:custGeom>
                  <a:avLst/>
                  <a:gdLst/>
                  <a:ahLst/>
                  <a:cxnLst/>
                  <a:rect l="l" t="t" r="r" b="b"/>
                  <a:pathLst>
                    <a:path w="54963" h="90046" extrusionOk="0">
                      <a:moveTo>
                        <a:pt x="49083" y="2501"/>
                      </a:moveTo>
                      <a:lnTo>
                        <a:pt x="48513" y="0"/>
                      </a:lnTo>
                      <a:lnTo>
                        <a:pt x="46518" y="1615"/>
                      </a:lnTo>
                      <a:cubicBezTo>
                        <a:pt x="35654" y="10417"/>
                        <a:pt x="9556" y="33055"/>
                        <a:pt x="1828" y="53540"/>
                      </a:cubicBezTo>
                      <a:lnTo>
                        <a:pt x="1448" y="54617"/>
                      </a:lnTo>
                      <a:cubicBezTo>
                        <a:pt x="-865" y="61316"/>
                        <a:pt x="-389" y="68656"/>
                        <a:pt x="2746" y="75007"/>
                      </a:cubicBezTo>
                      <a:cubicBezTo>
                        <a:pt x="5755" y="81387"/>
                        <a:pt x="11203" y="86294"/>
                        <a:pt x="17854" y="88622"/>
                      </a:cubicBezTo>
                      <a:cubicBezTo>
                        <a:pt x="20578" y="89565"/>
                        <a:pt x="23397" y="90046"/>
                        <a:pt x="26279" y="90046"/>
                      </a:cubicBezTo>
                      <a:cubicBezTo>
                        <a:pt x="30396" y="90027"/>
                        <a:pt x="34451" y="89065"/>
                        <a:pt x="38156" y="87228"/>
                      </a:cubicBezTo>
                      <a:cubicBezTo>
                        <a:pt x="44554" y="84176"/>
                        <a:pt x="49463" y="78689"/>
                        <a:pt x="51775" y="71999"/>
                      </a:cubicBezTo>
                      <a:lnTo>
                        <a:pt x="52124" y="70954"/>
                      </a:lnTo>
                      <a:cubicBezTo>
                        <a:pt x="58712" y="50057"/>
                        <a:pt x="52187" y="16116"/>
                        <a:pt x="49083" y="2501"/>
                      </a:cubicBezTo>
                      <a:close/>
                      <a:moveTo>
                        <a:pt x="15890" y="59049"/>
                      </a:moveTo>
                      <a:lnTo>
                        <a:pt x="15890" y="59049"/>
                      </a:lnTo>
                      <a:lnTo>
                        <a:pt x="17474" y="59271"/>
                      </a:lnTo>
                      <a:cubicBezTo>
                        <a:pt x="20863" y="50437"/>
                        <a:pt x="29700" y="40274"/>
                        <a:pt x="37301" y="32422"/>
                      </a:cubicBezTo>
                      <a:cubicBezTo>
                        <a:pt x="38505" y="43282"/>
                        <a:pt x="39075" y="56928"/>
                        <a:pt x="36193" y="66015"/>
                      </a:cubicBezTo>
                      <a:lnTo>
                        <a:pt x="36034" y="66553"/>
                      </a:lnTo>
                      <a:cubicBezTo>
                        <a:pt x="34197" y="71717"/>
                        <a:pt x="28591" y="74510"/>
                        <a:pt x="23365" y="72886"/>
                      </a:cubicBezTo>
                      <a:cubicBezTo>
                        <a:pt x="18298" y="70957"/>
                        <a:pt x="15574" y="65410"/>
                        <a:pt x="17189" y="60221"/>
                      </a:cubicBezTo>
                      <a:lnTo>
                        <a:pt x="17411" y="59651"/>
                      </a:lnTo>
                      <a:lnTo>
                        <a:pt x="15922" y="59144"/>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7" name="Google Shape;1043;p85">
                  <a:extLst>
                    <a:ext uri="{FF2B5EF4-FFF2-40B4-BE49-F238E27FC236}">
                      <a16:creationId xmlns:a16="http://schemas.microsoft.com/office/drawing/2014/main" id="{53E07E04-4B32-E122-2D56-D0DD5128BEFC}"/>
                    </a:ext>
                  </a:extLst>
                </p:cNvPr>
                <p:cNvSpPr/>
                <p:nvPr/>
              </p:nvSpPr>
              <p:spPr>
                <a:xfrm>
                  <a:off x="5098067" y="3792438"/>
                  <a:ext cx="456085" cy="455929"/>
                </a:xfrm>
                <a:custGeom>
                  <a:avLst/>
                  <a:gdLst/>
                  <a:ahLst/>
                  <a:cxnLst/>
                  <a:rect l="l" t="t" r="r" b="b"/>
                  <a:pathLst>
                    <a:path w="456085" h="455929" extrusionOk="0">
                      <a:moveTo>
                        <a:pt x="0" y="0"/>
                      </a:moveTo>
                      <a:lnTo>
                        <a:pt x="0" y="455930"/>
                      </a:lnTo>
                      <a:lnTo>
                        <a:pt x="456086" y="455930"/>
                      </a:lnTo>
                      <a:lnTo>
                        <a:pt x="456086" y="0"/>
                      </a:lnTo>
                      <a:close/>
                      <a:moveTo>
                        <a:pt x="436639" y="436458"/>
                      </a:moveTo>
                      <a:lnTo>
                        <a:pt x="19447" y="436458"/>
                      </a:lnTo>
                      <a:lnTo>
                        <a:pt x="19447" y="19440"/>
                      </a:lnTo>
                      <a:lnTo>
                        <a:pt x="436639" y="19440"/>
                      </a:ln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8" name="Google Shape;1044;p85">
                  <a:extLst>
                    <a:ext uri="{FF2B5EF4-FFF2-40B4-BE49-F238E27FC236}">
                      <a16:creationId xmlns:a16="http://schemas.microsoft.com/office/drawing/2014/main" id="{D443AA0C-AFFE-4801-B64D-784CDAB80A7A}"/>
                    </a:ext>
                  </a:extLst>
                </p:cNvPr>
                <p:cNvSpPr/>
                <p:nvPr/>
              </p:nvSpPr>
              <p:spPr>
                <a:xfrm>
                  <a:off x="5159441" y="3860465"/>
                  <a:ext cx="333742" cy="188148"/>
                </a:xfrm>
                <a:custGeom>
                  <a:avLst/>
                  <a:gdLst/>
                  <a:ahLst/>
                  <a:cxnLst/>
                  <a:rect l="l" t="t" r="r" b="b"/>
                  <a:pathLst>
                    <a:path w="333742" h="188148" extrusionOk="0">
                      <a:moveTo>
                        <a:pt x="219784" y="188148"/>
                      </a:moveTo>
                      <a:lnTo>
                        <a:pt x="281324" y="188148"/>
                      </a:lnTo>
                      <a:cubicBezTo>
                        <a:pt x="310336" y="188098"/>
                        <a:pt x="333805" y="164551"/>
                        <a:pt x="333742" y="135558"/>
                      </a:cubicBezTo>
                      <a:cubicBezTo>
                        <a:pt x="333710" y="111381"/>
                        <a:pt x="317146" y="90361"/>
                        <a:pt x="293645" y="84646"/>
                      </a:cubicBezTo>
                      <a:cubicBezTo>
                        <a:pt x="293645" y="83474"/>
                        <a:pt x="293645" y="82303"/>
                        <a:pt x="293645" y="81100"/>
                      </a:cubicBezTo>
                      <a:cubicBezTo>
                        <a:pt x="293645" y="56460"/>
                        <a:pt x="273659" y="36491"/>
                        <a:pt x="249018" y="36491"/>
                      </a:cubicBezTo>
                      <a:cubicBezTo>
                        <a:pt x="241511" y="36494"/>
                        <a:pt x="234132" y="38388"/>
                        <a:pt x="227544" y="41997"/>
                      </a:cubicBezTo>
                      <a:cubicBezTo>
                        <a:pt x="199419" y="-917"/>
                        <a:pt x="141806" y="-12914"/>
                        <a:pt x="98890" y="15202"/>
                      </a:cubicBezTo>
                      <a:cubicBezTo>
                        <a:pt x="82040" y="26233"/>
                        <a:pt x="69244" y="42437"/>
                        <a:pt x="62403" y="61374"/>
                      </a:cubicBezTo>
                      <a:cubicBezTo>
                        <a:pt x="27405" y="61890"/>
                        <a:pt x="-531" y="90658"/>
                        <a:pt x="8" y="125632"/>
                      </a:cubicBezTo>
                      <a:cubicBezTo>
                        <a:pt x="515" y="160606"/>
                        <a:pt x="29273" y="188538"/>
                        <a:pt x="64272" y="188022"/>
                      </a:cubicBezTo>
                      <a:lnTo>
                        <a:pt x="219467" y="188022"/>
                      </a:lnTo>
                      <a:close/>
                      <a:moveTo>
                        <a:pt x="64303" y="168676"/>
                      </a:moveTo>
                      <a:cubicBezTo>
                        <a:pt x="40042" y="168024"/>
                        <a:pt x="20880" y="147827"/>
                        <a:pt x="21545" y="123564"/>
                      </a:cubicBezTo>
                      <a:cubicBezTo>
                        <a:pt x="22178" y="100220"/>
                        <a:pt x="40961" y="81441"/>
                        <a:pt x="64303" y="80815"/>
                      </a:cubicBezTo>
                      <a:cubicBezTo>
                        <a:pt x="65728" y="80815"/>
                        <a:pt x="67154" y="80887"/>
                        <a:pt x="68579" y="81036"/>
                      </a:cubicBezTo>
                      <a:lnTo>
                        <a:pt x="76782" y="81828"/>
                      </a:lnTo>
                      <a:lnTo>
                        <a:pt x="78904" y="73849"/>
                      </a:lnTo>
                      <a:cubicBezTo>
                        <a:pt x="89451" y="34690"/>
                        <a:pt x="129739" y="11482"/>
                        <a:pt x="168918" y="22009"/>
                      </a:cubicBezTo>
                      <a:cubicBezTo>
                        <a:pt x="189378" y="27512"/>
                        <a:pt x="206482" y="41586"/>
                        <a:pt x="215793" y="60615"/>
                      </a:cubicBezTo>
                      <a:lnTo>
                        <a:pt x="221748" y="72741"/>
                      </a:lnTo>
                      <a:lnTo>
                        <a:pt x="231250" y="63242"/>
                      </a:lnTo>
                      <a:cubicBezTo>
                        <a:pt x="241195" y="53586"/>
                        <a:pt x="257094" y="53826"/>
                        <a:pt x="266755" y="63781"/>
                      </a:cubicBezTo>
                      <a:cubicBezTo>
                        <a:pt x="273406" y="70620"/>
                        <a:pt x="275591" y="80628"/>
                        <a:pt x="272424" y="89617"/>
                      </a:cubicBezTo>
                      <a:lnTo>
                        <a:pt x="267800" y="102281"/>
                      </a:lnTo>
                      <a:lnTo>
                        <a:pt x="281451" y="102471"/>
                      </a:lnTo>
                      <a:cubicBezTo>
                        <a:pt x="299694" y="102611"/>
                        <a:pt x="314358" y="117511"/>
                        <a:pt x="314232" y="135748"/>
                      </a:cubicBezTo>
                      <a:cubicBezTo>
                        <a:pt x="314105" y="153985"/>
                        <a:pt x="299188" y="168657"/>
                        <a:pt x="280944" y="168518"/>
                      </a:cubicBezTo>
                      <a:close/>
                    </a:path>
                  </a:pathLst>
                </a:custGeom>
                <a:grp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 name="Google Shape;687;p78">
                <a:extLst>
                  <a:ext uri="{FF2B5EF4-FFF2-40B4-BE49-F238E27FC236}">
                    <a16:creationId xmlns:a16="http://schemas.microsoft.com/office/drawing/2014/main" id="{98618099-D8BC-3269-3F60-AA76DE80B506}"/>
                  </a:ext>
                </a:extLst>
              </p:cNvPr>
              <p:cNvSpPr/>
              <p:nvPr/>
            </p:nvSpPr>
            <p:spPr>
              <a:xfrm>
                <a:off x="5448267" y="1927235"/>
                <a:ext cx="360363" cy="360363"/>
              </a:xfrm>
              <a:custGeom>
                <a:avLst/>
                <a:gdLst/>
                <a:ahLst/>
                <a:cxnLst/>
                <a:rect l="l" t="t" r="r" b="b"/>
                <a:pathLst>
                  <a:path w="704" h="706" extrusionOk="0">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grpSp>
      </p:grpSp>
      <p:cxnSp>
        <p:nvCxnSpPr>
          <p:cNvPr id="4" name="Straight Connector 3">
            <a:extLst>
              <a:ext uri="{FF2B5EF4-FFF2-40B4-BE49-F238E27FC236}">
                <a16:creationId xmlns:a16="http://schemas.microsoft.com/office/drawing/2014/main" id="{9128A8B2-9B22-0215-9482-2DD2B36E81B3}"/>
              </a:ext>
            </a:extLst>
          </p:cNvPr>
          <p:cNvCxnSpPr>
            <a:cxnSpLocks/>
          </p:cNvCxnSpPr>
          <p:nvPr/>
        </p:nvCxnSpPr>
        <p:spPr>
          <a:xfrm>
            <a:off x="6940127" y="504534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1" name="Straight Connector 10">
            <a:extLst>
              <a:ext uri="{FF2B5EF4-FFF2-40B4-BE49-F238E27FC236}">
                <a16:creationId xmlns:a16="http://schemas.microsoft.com/office/drawing/2014/main" id="{86CF91DB-4871-AE7B-3C9D-00EC6329D387}"/>
              </a:ext>
            </a:extLst>
          </p:cNvPr>
          <p:cNvCxnSpPr>
            <a:cxnSpLocks/>
          </p:cNvCxnSpPr>
          <p:nvPr/>
        </p:nvCxnSpPr>
        <p:spPr>
          <a:xfrm>
            <a:off x="6940549" y="445161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2" name="Straight Connector 11">
            <a:extLst>
              <a:ext uri="{FF2B5EF4-FFF2-40B4-BE49-F238E27FC236}">
                <a16:creationId xmlns:a16="http://schemas.microsoft.com/office/drawing/2014/main" id="{FE6BA565-B4D8-F247-E016-E204B472C39E}"/>
              </a:ext>
            </a:extLst>
          </p:cNvPr>
          <p:cNvCxnSpPr>
            <a:cxnSpLocks/>
          </p:cNvCxnSpPr>
          <p:nvPr/>
        </p:nvCxnSpPr>
        <p:spPr>
          <a:xfrm>
            <a:off x="6940127" y="5639076"/>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86" name="Group 85">
            <a:extLst>
              <a:ext uri="{FF2B5EF4-FFF2-40B4-BE49-F238E27FC236}">
                <a16:creationId xmlns:a16="http://schemas.microsoft.com/office/drawing/2014/main" id="{0F3ACE4A-2421-7789-1D8F-54497EBCE9E2}"/>
              </a:ext>
            </a:extLst>
          </p:cNvPr>
          <p:cNvGrpSpPr/>
          <p:nvPr/>
        </p:nvGrpSpPr>
        <p:grpSpPr>
          <a:xfrm>
            <a:off x="6275387" y="3920946"/>
            <a:ext cx="5473278" cy="470062"/>
            <a:chOff x="6275387" y="3718875"/>
            <a:chExt cx="5473278" cy="470062"/>
          </a:xfrm>
        </p:grpSpPr>
        <p:sp>
          <p:nvSpPr>
            <p:cNvPr id="7" name="Rectangle 6">
              <a:extLst>
                <a:ext uri="{FF2B5EF4-FFF2-40B4-BE49-F238E27FC236}">
                  <a16:creationId xmlns:a16="http://schemas.microsoft.com/office/drawing/2014/main" id="{1382C6AE-0E82-233B-9AAC-933A7A525A1D}"/>
                </a:ext>
              </a:extLst>
            </p:cNvPr>
            <p:cNvSpPr/>
            <p:nvPr/>
          </p:nvSpPr>
          <p:spPr>
            <a:xfrm>
              <a:off x="6275387" y="3718875"/>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3" name="Rectangle 12">
              <a:extLst>
                <a:ext uri="{FF2B5EF4-FFF2-40B4-BE49-F238E27FC236}">
                  <a16:creationId xmlns:a16="http://schemas.microsoft.com/office/drawing/2014/main" id="{796BC01C-F070-C5BD-AF9C-CB23C1AB936F}"/>
                </a:ext>
              </a:extLst>
            </p:cNvPr>
            <p:cNvSpPr/>
            <p:nvPr/>
          </p:nvSpPr>
          <p:spPr>
            <a:xfrm>
              <a:off x="6940127" y="3738005"/>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dirty="0">
                  <a:solidFill>
                    <a:schemeClr val="tx1"/>
                  </a:solidFill>
                </a:rPr>
                <a:t>Warm blankets, sleeping bags, warm underwear (</a:t>
              </a:r>
              <a:r>
                <a:rPr lang="lv-LV" sz="1400" dirty="0" err="1">
                  <a:solidFill>
                    <a:schemeClr val="tx1"/>
                  </a:solidFill>
                </a:rPr>
                <a:t>during</a:t>
              </a:r>
              <a:r>
                <a:rPr lang="lv-LV" sz="1400" dirty="0">
                  <a:solidFill>
                    <a:schemeClr val="tx1"/>
                  </a:solidFill>
                </a:rPr>
                <a:t> </a:t>
              </a:r>
              <a:r>
                <a:rPr lang="lv-LV" sz="1400" dirty="0" err="1">
                  <a:solidFill>
                    <a:schemeClr val="tx1"/>
                  </a:solidFill>
                </a:rPr>
                <a:t>the</a:t>
              </a:r>
              <a:r>
                <a:rPr lang="lv-LV" sz="1400" dirty="0">
                  <a:solidFill>
                    <a:schemeClr val="tx1"/>
                  </a:solidFill>
                </a:rPr>
                <a:t> </a:t>
              </a:r>
              <a:r>
                <a:rPr lang="en-gb" sz="1400" dirty="0">
                  <a:solidFill>
                    <a:schemeClr val="tx1"/>
                  </a:solidFill>
                </a:rPr>
                <a:t>cold season)</a:t>
              </a:r>
              <a:endParaRPr lang="lv-LV" sz="1400" b="0" i="0" dirty="0">
                <a:solidFill>
                  <a:schemeClr val="tx1"/>
                </a:solidFill>
                <a:effectLst/>
              </a:endParaRPr>
            </a:p>
          </p:txBody>
        </p:sp>
        <p:sp>
          <p:nvSpPr>
            <p:cNvPr id="47" name="L-Shape 46">
              <a:extLst>
                <a:ext uri="{FF2B5EF4-FFF2-40B4-BE49-F238E27FC236}">
                  <a16:creationId xmlns:a16="http://schemas.microsoft.com/office/drawing/2014/main" id="{46343C9A-0CE9-AB7A-C89C-4E2D607F5E2C}"/>
                </a:ext>
              </a:extLst>
            </p:cNvPr>
            <p:cNvSpPr/>
            <p:nvPr/>
          </p:nvSpPr>
          <p:spPr>
            <a:xfrm rot="13500000">
              <a:off x="6391781" y="38175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7" name="Group 86">
            <a:extLst>
              <a:ext uri="{FF2B5EF4-FFF2-40B4-BE49-F238E27FC236}">
                <a16:creationId xmlns:a16="http://schemas.microsoft.com/office/drawing/2014/main" id="{0A0C89DD-319E-0866-7074-F3537FD36D58}"/>
              </a:ext>
            </a:extLst>
          </p:cNvPr>
          <p:cNvGrpSpPr/>
          <p:nvPr/>
        </p:nvGrpSpPr>
        <p:grpSpPr>
          <a:xfrm>
            <a:off x="6275387" y="4514676"/>
            <a:ext cx="5473278" cy="470062"/>
            <a:chOff x="6275387" y="4365438"/>
            <a:chExt cx="5473278" cy="470062"/>
          </a:xfrm>
        </p:grpSpPr>
        <p:sp>
          <p:nvSpPr>
            <p:cNvPr id="8" name="Rectangle 7">
              <a:extLst>
                <a:ext uri="{FF2B5EF4-FFF2-40B4-BE49-F238E27FC236}">
                  <a16:creationId xmlns:a16="http://schemas.microsoft.com/office/drawing/2014/main" id="{002C2448-1794-BC12-EBC4-B1D37677FB37}"/>
                </a:ext>
              </a:extLst>
            </p:cNvPr>
            <p:cNvSpPr/>
            <p:nvPr/>
          </p:nvSpPr>
          <p:spPr>
            <a:xfrm>
              <a:off x="6275387" y="4365438"/>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4" name="Rectangle 43">
              <a:extLst>
                <a:ext uri="{FF2B5EF4-FFF2-40B4-BE49-F238E27FC236}">
                  <a16:creationId xmlns:a16="http://schemas.microsoft.com/office/drawing/2014/main" id="{7F93F93E-17ED-2FC6-1B9F-6433D12CA1A1}"/>
                </a:ext>
              </a:extLst>
            </p:cNvPr>
            <p:cNvSpPr/>
            <p:nvPr/>
          </p:nvSpPr>
          <p:spPr>
            <a:xfrm>
              <a:off x="6940127" y="4384568"/>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dirty="0">
                  <a:solidFill>
                    <a:schemeClr val="tx1"/>
                  </a:solidFill>
                </a:rPr>
                <a:t>Critical kit in case of evacuation or movement to shelter</a:t>
              </a:r>
              <a:endParaRPr lang="lv-LV" sz="1400" b="0" i="0" dirty="0">
                <a:solidFill>
                  <a:schemeClr val="tx1"/>
                </a:solidFill>
                <a:effectLst/>
              </a:endParaRPr>
            </a:p>
          </p:txBody>
        </p:sp>
        <p:sp>
          <p:nvSpPr>
            <p:cNvPr id="48" name="L-Shape 47">
              <a:extLst>
                <a:ext uri="{FF2B5EF4-FFF2-40B4-BE49-F238E27FC236}">
                  <a16:creationId xmlns:a16="http://schemas.microsoft.com/office/drawing/2014/main" id="{F6473777-3753-7526-EB43-CB84F0EF3B84}"/>
                </a:ext>
              </a:extLst>
            </p:cNvPr>
            <p:cNvSpPr/>
            <p:nvPr/>
          </p:nvSpPr>
          <p:spPr>
            <a:xfrm rot="13500000">
              <a:off x="6391781" y="446408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93" name="Group 92">
            <a:extLst>
              <a:ext uri="{FF2B5EF4-FFF2-40B4-BE49-F238E27FC236}">
                <a16:creationId xmlns:a16="http://schemas.microsoft.com/office/drawing/2014/main" id="{531DF04B-66DE-3AE7-19C5-4F45D318150B}"/>
              </a:ext>
            </a:extLst>
          </p:cNvPr>
          <p:cNvGrpSpPr/>
          <p:nvPr/>
        </p:nvGrpSpPr>
        <p:grpSpPr>
          <a:xfrm>
            <a:off x="6275387" y="5702138"/>
            <a:ext cx="5473278" cy="470062"/>
            <a:chOff x="6275387" y="5658563"/>
            <a:chExt cx="5473278" cy="470062"/>
          </a:xfrm>
        </p:grpSpPr>
        <p:sp>
          <p:nvSpPr>
            <p:cNvPr id="10" name="Rectangle 9">
              <a:extLst>
                <a:ext uri="{FF2B5EF4-FFF2-40B4-BE49-F238E27FC236}">
                  <a16:creationId xmlns:a16="http://schemas.microsoft.com/office/drawing/2014/main" id="{054C3344-9203-645B-B188-35F0A35474F5}"/>
                </a:ext>
              </a:extLst>
            </p:cNvPr>
            <p:cNvSpPr/>
            <p:nvPr/>
          </p:nvSpPr>
          <p:spPr>
            <a:xfrm>
              <a:off x="6275387" y="5658563"/>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5" name="Rectangle 44">
              <a:extLst>
                <a:ext uri="{FF2B5EF4-FFF2-40B4-BE49-F238E27FC236}">
                  <a16:creationId xmlns:a16="http://schemas.microsoft.com/office/drawing/2014/main" id="{4A57608F-5CAD-99B5-1B39-CE768129B9EA}"/>
                </a:ext>
              </a:extLst>
            </p:cNvPr>
            <p:cNvSpPr/>
            <p:nvPr/>
          </p:nvSpPr>
          <p:spPr>
            <a:xfrm>
              <a:off x="6940127" y="5677693"/>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rgbClr val="212529"/>
                  </a:solidFill>
                </a:rPr>
                <a:t>Hygiene and sanitary products</a:t>
              </a:r>
              <a:endParaRPr lang="lv-LV" sz="1400" b="0" i="0">
                <a:solidFill>
                  <a:srgbClr val="212529"/>
                </a:solidFill>
                <a:effectLst/>
              </a:endParaRPr>
            </a:p>
          </p:txBody>
        </p:sp>
        <p:sp>
          <p:nvSpPr>
            <p:cNvPr id="53" name="L-Shape 52">
              <a:extLst>
                <a:ext uri="{FF2B5EF4-FFF2-40B4-BE49-F238E27FC236}">
                  <a16:creationId xmlns:a16="http://schemas.microsoft.com/office/drawing/2014/main" id="{6295EB72-F903-1D37-8DB6-020C04AA6309}"/>
                </a:ext>
              </a:extLst>
            </p:cNvPr>
            <p:cNvSpPr/>
            <p:nvPr/>
          </p:nvSpPr>
          <p:spPr>
            <a:xfrm rot="13500000">
              <a:off x="6391781" y="575720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8" name="Group 87">
            <a:extLst>
              <a:ext uri="{FF2B5EF4-FFF2-40B4-BE49-F238E27FC236}">
                <a16:creationId xmlns:a16="http://schemas.microsoft.com/office/drawing/2014/main" id="{C92D1B10-F979-48C2-B24C-081F323555AE}"/>
              </a:ext>
            </a:extLst>
          </p:cNvPr>
          <p:cNvGrpSpPr/>
          <p:nvPr/>
        </p:nvGrpSpPr>
        <p:grpSpPr>
          <a:xfrm>
            <a:off x="6275387" y="5108406"/>
            <a:ext cx="5513714" cy="470062"/>
            <a:chOff x="6275387" y="5012001"/>
            <a:chExt cx="5513714" cy="470062"/>
          </a:xfrm>
        </p:grpSpPr>
        <p:sp>
          <p:nvSpPr>
            <p:cNvPr id="9" name="Rectangle 8">
              <a:extLst>
                <a:ext uri="{FF2B5EF4-FFF2-40B4-BE49-F238E27FC236}">
                  <a16:creationId xmlns:a16="http://schemas.microsoft.com/office/drawing/2014/main" id="{820331D3-9B19-3187-70F5-3FF99A16B7E6}"/>
                </a:ext>
              </a:extLst>
            </p:cNvPr>
            <p:cNvSpPr/>
            <p:nvPr/>
          </p:nvSpPr>
          <p:spPr>
            <a:xfrm>
              <a:off x="6275387" y="5012001"/>
              <a:ext cx="576263" cy="47006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1" name="L-Shape 50">
              <a:extLst>
                <a:ext uri="{FF2B5EF4-FFF2-40B4-BE49-F238E27FC236}">
                  <a16:creationId xmlns:a16="http://schemas.microsoft.com/office/drawing/2014/main" id="{03BF6B2D-1D60-1230-7480-4D2EC2E43E21}"/>
                </a:ext>
              </a:extLst>
            </p:cNvPr>
            <p:cNvSpPr/>
            <p:nvPr/>
          </p:nvSpPr>
          <p:spPr>
            <a:xfrm rot="13500000">
              <a:off x="6391781" y="511064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4" name="Rectangle 53">
              <a:extLst>
                <a:ext uri="{FF2B5EF4-FFF2-40B4-BE49-F238E27FC236}">
                  <a16:creationId xmlns:a16="http://schemas.microsoft.com/office/drawing/2014/main" id="{5E02FFDB-E252-9CAD-1747-04127CF5A267}"/>
                </a:ext>
              </a:extLst>
            </p:cNvPr>
            <p:cNvSpPr/>
            <p:nvPr/>
          </p:nvSpPr>
          <p:spPr>
            <a:xfrm>
              <a:off x="6980563" y="5031131"/>
              <a:ext cx="4808538" cy="4318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tx1"/>
                  </a:solidFill>
                </a:rPr>
                <a:t>Alternative stand-alone heat source when the central heating system is not working</a:t>
              </a:r>
              <a:endParaRPr lang="lv-LV" sz="1400" b="0" i="0">
                <a:solidFill>
                  <a:schemeClr val="tx1"/>
                </a:solidFill>
                <a:effectLst/>
              </a:endParaRPr>
            </a:p>
          </p:txBody>
        </p:sp>
      </p:grpSp>
      <p:grpSp>
        <p:nvGrpSpPr>
          <p:cNvPr id="3" name="Group 2">
            <a:extLst>
              <a:ext uri="{FF2B5EF4-FFF2-40B4-BE49-F238E27FC236}">
                <a16:creationId xmlns:a16="http://schemas.microsoft.com/office/drawing/2014/main" id="{68E5A077-2D87-E0EB-B313-3454C3F845A0}"/>
              </a:ext>
            </a:extLst>
          </p:cNvPr>
          <p:cNvGrpSpPr/>
          <p:nvPr/>
        </p:nvGrpSpPr>
        <p:grpSpPr>
          <a:xfrm>
            <a:off x="9641294" y="157007"/>
            <a:ext cx="2107794" cy="220267"/>
            <a:chOff x="9641294" y="157007"/>
            <a:chExt cx="2107794" cy="220267"/>
          </a:xfrm>
        </p:grpSpPr>
        <p:sp>
          <p:nvSpPr>
            <p:cNvPr id="38" name="Rectangle 37">
              <a:extLst>
                <a:ext uri="{FF2B5EF4-FFF2-40B4-BE49-F238E27FC236}">
                  <a16:creationId xmlns:a16="http://schemas.microsoft.com/office/drawing/2014/main" id="{4CB3EE17-0A82-5495-5DE7-5DE35338B6BC}"/>
                </a:ext>
              </a:extLst>
            </p:cNvPr>
            <p:cNvSpPr/>
            <p:nvPr/>
          </p:nvSpPr>
          <p:spPr>
            <a:xfrm>
              <a:off x="10366138" y="159786"/>
              <a:ext cx="138295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Individual resilience</a:t>
              </a:r>
              <a:endParaRPr kumimoji="0" lang="en-US"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6D4140E8-BDF5-9CB5-32AE-C979824D52C7}"/>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5" name="Rectangle 54">
              <a:extLst>
                <a:ext uri="{FF2B5EF4-FFF2-40B4-BE49-F238E27FC236}">
                  <a16:creationId xmlns:a16="http://schemas.microsoft.com/office/drawing/2014/main" id="{F564EF06-8AC0-9A3F-9EFC-666CE4889F3F}"/>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6" name="Rectangle 55">
              <a:extLst>
                <a:ext uri="{FF2B5EF4-FFF2-40B4-BE49-F238E27FC236}">
                  <a16:creationId xmlns:a16="http://schemas.microsoft.com/office/drawing/2014/main" id="{84985AC3-D023-F167-5397-A8826D067A64}"/>
                </a:ext>
              </a:extLst>
            </p:cNvPr>
            <p:cNvSpPr/>
            <p:nvPr/>
          </p:nvSpPr>
          <p:spPr>
            <a:xfrm>
              <a:off x="10124522"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6.3</a:t>
              </a:r>
              <a:endParaRPr kumimoji="0" lang="lv-LV" sz="800" b="1" i="0" u="none" strike="noStrike" kern="0" cap="none" spc="0" normalizeH="0" baseline="0">
                <a:ln>
                  <a:noFill/>
                </a:ln>
                <a:effectLst/>
                <a:uLnTx/>
                <a:uFillTx/>
                <a:ea typeface="Georgia"/>
                <a:cs typeface="Georgia"/>
                <a:sym typeface="Georgia"/>
              </a:endParaRPr>
            </a:p>
          </p:txBody>
        </p:sp>
      </p:grpSp>
      <p:sp>
        <p:nvSpPr>
          <p:cNvPr id="22" name="Rectangle 21">
            <a:extLst>
              <a:ext uri="{FF2B5EF4-FFF2-40B4-BE49-F238E27FC236}">
                <a16:creationId xmlns:a16="http://schemas.microsoft.com/office/drawing/2014/main" id="{DAE9E604-1C25-457F-090B-9B5F2D4E578F}"/>
              </a:ext>
            </a:extLst>
          </p:cNvPr>
          <p:cNvSpPr/>
          <p:nvPr/>
        </p:nvSpPr>
        <p:spPr>
          <a:xfrm>
            <a:off x="442913" y="1813087"/>
            <a:ext cx="11306175" cy="74170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chorCtr="0">
            <a:noAutofit/>
          </a:bodyPr>
          <a:lstStyle/>
          <a:p>
            <a:pPr marR="0" lvl="0" algn="l" defTabSz="914400" rtl="0" eaLnBrk="1" fontAlgn="auto" latinLnBrk="0" hangingPunct="1">
              <a:lnSpc>
                <a:spcPct val="100000"/>
              </a:lnSpc>
              <a:spcBef>
                <a:spcPts val="0"/>
              </a:spcBef>
              <a:buClrTx/>
              <a:buSzTx/>
              <a:buFontTx/>
              <a:buBlip>
                <a:blip r:embed="rId6"/>
              </a:buBlip>
              <a:tabLst/>
              <a:defRPr/>
            </a:pPr>
            <a:r>
              <a:rPr lang="en-gb" sz="1200">
                <a:solidFill>
                  <a:srgbClr val="000000"/>
                </a:solidFill>
                <a:latin typeface="Arial"/>
                <a:cs typeface="Arial"/>
              </a:rPr>
              <a:t> </a:t>
            </a:r>
            <a:r>
              <a:rPr lang="en-gb" sz="1200" b="1">
                <a:solidFill>
                  <a:schemeClr val="tx1"/>
                </a:solidFill>
                <a:latin typeface="Arial" panose="020B0604020202020204" pitchFamily="34" charset="0"/>
              </a:rPr>
              <a:t>The emergency services and the municipality will first assist socially vulnerable groups and people whose lives and health are at risk.</a:t>
            </a:r>
            <a:endParaRPr lang="en-US" sz="1200" b="1" dirty="0">
              <a:solidFill>
                <a:schemeClr val="tx1"/>
              </a:solidFill>
              <a:latin typeface="Arial" panose="020B0604020202020204" pitchFamily="34" charset="0"/>
            </a:endParaRPr>
          </a:p>
          <a:p>
            <a:pPr marR="0" lvl="0" algn="l" defTabSz="914400" rtl="0" eaLnBrk="1" fontAlgn="auto" latinLnBrk="0" hangingPunct="1">
              <a:lnSpc>
                <a:spcPct val="100000"/>
              </a:lnSpc>
              <a:spcBef>
                <a:spcPts val="0"/>
              </a:spcBef>
              <a:buClrTx/>
              <a:buSzTx/>
              <a:buFontTx/>
              <a:buBlip>
                <a:blip r:embed="rId6"/>
              </a:buBlip>
              <a:tabLst/>
              <a:defRPr/>
            </a:pPr>
            <a:r>
              <a:rPr lang="en-gb" sz="1200" b="1">
                <a:solidFill>
                  <a:schemeClr val="tx1"/>
                </a:solidFill>
                <a:latin typeface="Arial" panose="020B0604020202020204" pitchFamily="34" charset="0"/>
              </a:rPr>
              <a:t> Everyone needs to prepare a home emergency kit to be able to live without outside help for 72 hours in case of an emergency.</a:t>
            </a:r>
          </a:p>
        </p:txBody>
      </p:sp>
      <p:sp>
        <p:nvSpPr>
          <p:cNvPr id="14" name="TextBox 13">
            <a:extLst>
              <a:ext uri="{FF2B5EF4-FFF2-40B4-BE49-F238E27FC236}">
                <a16:creationId xmlns:a16="http://schemas.microsoft.com/office/drawing/2014/main" id="{4A303937-99C0-355B-60B4-D178257CF76C}"/>
              </a:ext>
            </a:extLst>
          </p:cNvPr>
          <p:cNvSpPr txBox="1"/>
          <p:nvPr/>
        </p:nvSpPr>
        <p:spPr>
          <a:xfrm>
            <a:off x="442913" y="6235092"/>
            <a:ext cx="3758974" cy="514295"/>
          </a:xfrm>
          <a:prstGeom prst="rect">
            <a:avLst/>
          </a:prstGeom>
          <a:solidFill>
            <a:srgbClr val="D0CFD7"/>
          </a:solidFill>
        </p:spPr>
        <p:txBody>
          <a:bodyPr wrap="square" lIns="468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lnSpc>
                <a:spcPct val="100000"/>
              </a:lnSpc>
              <a:spcAft>
                <a:spcPts val="600"/>
              </a:spcAft>
              <a:buSzPct val="100000"/>
            </a:pPr>
            <a:r>
              <a:rPr lang="en-gb" sz="1100" b="0" i="0" u="sng" dirty="0">
                <a:effectLst/>
                <a:latin typeface="Arial" panose="020B0604020202020204" pitchFamily="34" charset="0"/>
                <a:hlinkClick r:id="rId7">
                  <a:extLst>
                    <a:ext uri="{A12FA001-AC4F-418D-AE19-62706E023703}">
                      <ahyp:hlinkClr xmlns:ahyp="http://schemas.microsoft.com/office/drawing/2018/hyperlinkcolor" val="tx"/>
                    </a:ext>
                  </a:extLst>
                </a:hlinkClick>
              </a:rPr>
              <a:t>"What to do in case of war"</a:t>
            </a:r>
            <a:endParaRPr lang="lv-LV" sz="1100" b="0" i="0" dirty="0">
              <a:effectLst/>
              <a:latin typeface="Arial" panose="020B0604020202020204" pitchFamily="34" charset="0"/>
            </a:endParaRPr>
          </a:p>
        </p:txBody>
      </p:sp>
      <p:sp>
        <p:nvSpPr>
          <p:cNvPr id="17" name="Freeform 50">
            <a:extLst>
              <a:ext uri="{FF2B5EF4-FFF2-40B4-BE49-F238E27FC236}">
                <a16:creationId xmlns:a16="http://schemas.microsoft.com/office/drawing/2014/main" id="{C354049E-F79D-1508-924D-6D3B4F0E25AB}"/>
              </a:ext>
            </a:extLst>
          </p:cNvPr>
          <p:cNvSpPr>
            <a:spLocks noChangeAspect="1"/>
          </p:cNvSpPr>
          <p:nvPr/>
        </p:nvSpPr>
        <p:spPr bwMode="auto">
          <a:xfrm>
            <a:off x="553441" y="635063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Tree>
    <p:extLst>
      <p:ext uri="{BB962C8B-B14F-4D97-AF65-F5344CB8AC3E}">
        <p14:creationId xmlns:p14="http://schemas.microsoft.com/office/powerpoint/2010/main" val="8022363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13545E-2120-F08C-5E8F-081952269536}"/>
              </a:ext>
            </a:extLst>
          </p:cNvPr>
          <p:cNvSpPr/>
          <p:nvPr/>
        </p:nvSpPr>
        <p:spPr>
          <a:xfrm>
            <a:off x="442913" y="1819275"/>
            <a:ext cx="74183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What to do if you need to evacuate?</a:t>
            </a:r>
          </a:p>
        </p:txBody>
      </p:sp>
      <p:sp>
        <p:nvSpPr>
          <p:cNvPr id="12" name="Rectangle 11">
            <a:extLst>
              <a:ext uri="{FF2B5EF4-FFF2-40B4-BE49-F238E27FC236}">
                <a16:creationId xmlns:a16="http://schemas.microsoft.com/office/drawing/2014/main" id="{531EC6BC-6224-CC85-15D9-1F663C792AFF}"/>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5" name="Google Shape;764;p79">
            <a:extLst>
              <a:ext uri="{FF2B5EF4-FFF2-40B4-BE49-F238E27FC236}">
                <a16:creationId xmlns:a16="http://schemas.microsoft.com/office/drawing/2014/main" id="{0CE2FE1C-CDFD-3C84-1EC3-45D73C29E698}"/>
              </a:ext>
            </a:extLst>
          </p:cNvPr>
          <p:cNvSpPr/>
          <p:nvPr/>
        </p:nvSpPr>
        <p:spPr>
          <a:xfrm>
            <a:off x="7392954" y="1927235"/>
            <a:ext cx="360363" cy="360363"/>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Evacuation</a:t>
            </a: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32</a:t>
            </a:fld>
            <a:endParaRPr lang="en-GB"/>
          </a:p>
        </p:txBody>
      </p:sp>
      <p:sp>
        <p:nvSpPr>
          <p:cNvPr id="22" name="Rectangle 21">
            <a:extLst>
              <a:ext uri="{FF2B5EF4-FFF2-40B4-BE49-F238E27FC236}">
                <a16:creationId xmlns:a16="http://schemas.microsoft.com/office/drawing/2014/main" id="{89375083-FFCA-9108-0E80-8EB60C92354F}"/>
              </a:ext>
            </a:extLst>
          </p:cNvPr>
          <p:cNvSpPr/>
          <p:nvPr/>
        </p:nvSpPr>
        <p:spPr>
          <a:xfrm>
            <a:off x="1107653" y="2538660"/>
            <a:ext cx="67536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Listen carefully to the evacuation announcement, memorise and follow the evacuation direction, destination and assembly point.</a:t>
            </a:r>
          </a:p>
        </p:txBody>
      </p:sp>
      <p:sp>
        <p:nvSpPr>
          <p:cNvPr id="29" name="Rectangle 28">
            <a:extLst>
              <a:ext uri="{FF2B5EF4-FFF2-40B4-BE49-F238E27FC236}">
                <a16:creationId xmlns:a16="http://schemas.microsoft.com/office/drawing/2014/main" id="{CA699BD6-7797-FA80-74EA-2EC4D73A94F8}"/>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0" name="L-Shape 29">
            <a:extLst>
              <a:ext uri="{FF2B5EF4-FFF2-40B4-BE49-F238E27FC236}">
                <a16:creationId xmlns:a16="http://schemas.microsoft.com/office/drawing/2014/main" id="{6197CAD8-7E6D-5CE1-8FCE-BC4213326B4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108075" y="3221038"/>
            <a:ext cx="6753225"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6A4FD6DC-E4C1-D858-E054-0A05D8524AC5}"/>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108075" y="3974881"/>
            <a:ext cx="6753225"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108075" y="4731072"/>
            <a:ext cx="6753225"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F8DA8802-9BC8-065F-5AA6-BD78F056BC7A}"/>
              </a:ext>
            </a:extLst>
          </p:cNvPr>
          <p:cNvSpPr/>
          <p:nvPr/>
        </p:nvSpPr>
        <p:spPr>
          <a:xfrm>
            <a:off x="1107653" y="3291624"/>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If possible, use your own vehicle and drive in the direction indicated to your final destination or to a pre-selected shelter location that coincides with the evacuation direction.</a:t>
            </a:r>
          </a:p>
        </p:txBody>
      </p:sp>
      <p:sp>
        <p:nvSpPr>
          <p:cNvPr id="39" name="Rectangle 38">
            <a:extLst>
              <a:ext uri="{FF2B5EF4-FFF2-40B4-BE49-F238E27FC236}">
                <a16:creationId xmlns:a16="http://schemas.microsoft.com/office/drawing/2014/main" id="{0EF24B69-F68A-AA73-E401-29E429809714}"/>
              </a:ext>
            </a:extLst>
          </p:cNvPr>
          <p:cNvSpPr/>
          <p:nvPr/>
        </p:nvSpPr>
        <p:spPr>
          <a:xfrm>
            <a:off x="1107653" y="4047815"/>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If you cannot use your own vehicle, go to the nearest designated evacuation assembly point.</a:t>
            </a:r>
          </a:p>
        </p:txBody>
      </p:sp>
      <p:sp>
        <p:nvSpPr>
          <p:cNvPr id="43" name="Rectangle 42">
            <a:extLst>
              <a:ext uri="{FF2B5EF4-FFF2-40B4-BE49-F238E27FC236}">
                <a16:creationId xmlns:a16="http://schemas.microsoft.com/office/drawing/2014/main" id="{196EC982-36C1-885A-26A4-7ABFE845ED01}"/>
              </a:ext>
            </a:extLst>
          </p:cNvPr>
          <p:cNvSpPr/>
          <p:nvPr/>
        </p:nvSpPr>
        <p:spPr>
          <a:xfrm>
            <a:off x="1107653" y="4804006"/>
            <a:ext cx="67536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In case of evacuation, notify your family.</a:t>
            </a:r>
          </a:p>
        </p:txBody>
      </p:sp>
      <p:sp>
        <p:nvSpPr>
          <p:cNvPr id="53" name="Rectangle 52">
            <a:extLst>
              <a:ext uri="{FF2B5EF4-FFF2-40B4-BE49-F238E27FC236}">
                <a16:creationId xmlns:a16="http://schemas.microsoft.com/office/drawing/2014/main" id="{D93A3DAA-C47E-CA59-BF85-A61659B7C446}"/>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4" name="L-Shape 53">
            <a:extLst>
              <a:ext uri="{FF2B5EF4-FFF2-40B4-BE49-F238E27FC236}">
                <a16:creationId xmlns:a16="http://schemas.microsoft.com/office/drawing/2014/main" id="{388DAEC4-DC2E-CAE5-494B-24595291DC63}"/>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5" name="Rectangle 54">
            <a:extLst>
              <a:ext uri="{FF2B5EF4-FFF2-40B4-BE49-F238E27FC236}">
                <a16:creationId xmlns:a16="http://schemas.microsoft.com/office/drawing/2014/main" id="{E54FB6DE-3B38-25F3-B60F-0C25657BA20D}"/>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6" name="L-Shape 55">
            <a:extLst>
              <a:ext uri="{FF2B5EF4-FFF2-40B4-BE49-F238E27FC236}">
                <a16:creationId xmlns:a16="http://schemas.microsoft.com/office/drawing/2014/main" id="{7DA4F97D-4234-09CE-91F7-E3550F612279}"/>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0" name="Rectangle 59">
            <a:extLst>
              <a:ext uri="{FF2B5EF4-FFF2-40B4-BE49-F238E27FC236}">
                <a16:creationId xmlns:a16="http://schemas.microsoft.com/office/drawing/2014/main" id="{E57BEDAB-FFA0-4275-829B-000D39212D99}"/>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3" name="L-Shape 62">
            <a:extLst>
              <a:ext uri="{FF2B5EF4-FFF2-40B4-BE49-F238E27FC236}">
                <a16:creationId xmlns:a16="http://schemas.microsoft.com/office/drawing/2014/main" id="{47E05737-C554-CE19-8FC2-F0C9170BD887}"/>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pic>
        <p:nvPicPr>
          <p:cNvPr id="40" name="Picture 39">
            <a:extLst>
              <a:ext uri="{FF2B5EF4-FFF2-40B4-BE49-F238E27FC236}">
                <a16:creationId xmlns:a16="http://schemas.microsoft.com/office/drawing/2014/main" id="{360C6401-39F6-5764-FAF9-39035DD2300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216932" y="1819275"/>
            <a:ext cx="3533608" cy="4352924"/>
          </a:xfrm>
          <a:prstGeom prst="rect">
            <a:avLst/>
          </a:prstGeom>
        </p:spPr>
      </p:pic>
      <p:sp>
        <p:nvSpPr>
          <p:cNvPr id="41" name="Rectangle 40">
            <a:extLst>
              <a:ext uri="{FF2B5EF4-FFF2-40B4-BE49-F238E27FC236}">
                <a16:creationId xmlns:a16="http://schemas.microsoft.com/office/drawing/2014/main" id="{BD66F586-80A7-65B1-7093-B8B3D45C9217}"/>
              </a:ext>
            </a:extLst>
          </p:cNvPr>
          <p:cNvSpPr/>
          <p:nvPr/>
        </p:nvSpPr>
        <p:spPr>
          <a:xfrm rot="5400000">
            <a:off x="9948069" y="4371975"/>
            <a:ext cx="71438" cy="35306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1" name="Rectangle 50">
            <a:extLst>
              <a:ext uri="{FF2B5EF4-FFF2-40B4-BE49-F238E27FC236}">
                <a16:creationId xmlns:a16="http://schemas.microsoft.com/office/drawing/2014/main" id="{046CB008-72B6-5DC8-B11F-C125E0ADC6A3}"/>
              </a:ext>
            </a:extLst>
          </p:cNvPr>
          <p:cNvSpPr/>
          <p:nvPr/>
        </p:nvSpPr>
        <p:spPr>
          <a:xfrm>
            <a:off x="442912" y="5560164"/>
            <a:ext cx="7418387" cy="61759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34400" tIns="72000" rIns="72000" bIns="72000" rtlCol="0" anchor="ctr"/>
          <a:lstStyle/>
          <a:p>
            <a:pPr rtl="0"/>
            <a:r>
              <a:rPr lang="en-gb" sz="1400" b="1"/>
              <a:t>Remember! </a:t>
            </a:r>
            <a:r>
              <a:rPr lang="en-gb" sz="1400"/>
              <a:t>If possible, turn off the gas and electricity supply to your home before evacuating.</a:t>
            </a:r>
          </a:p>
        </p:txBody>
      </p:sp>
      <p:grpSp>
        <p:nvGrpSpPr>
          <p:cNvPr id="10" name="Google Shape;707;p79">
            <a:extLst>
              <a:ext uri="{FF2B5EF4-FFF2-40B4-BE49-F238E27FC236}">
                <a16:creationId xmlns:a16="http://schemas.microsoft.com/office/drawing/2014/main" id="{79E28498-EC0B-DF21-87BE-9CBD8EF1BDA6}"/>
              </a:ext>
            </a:extLst>
          </p:cNvPr>
          <p:cNvGrpSpPr/>
          <p:nvPr/>
        </p:nvGrpSpPr>
        <p:grpSpPr>
          <a:xfrm>
            <a:off x="587484" y="5688778"/>
            <a:ext cx="360363" cy="360363"/>
            <a:chOff x="4276447" y="6040963"/>
            <a:chExt cx="457199" cy="457200"/>
          </a:xfrm>
          <a:solidFill>
            <a:schemeClr val="bg1"/>
          </a:solidFill>
        </p:grpSpPr>
        <p:sp>
          <p:nvSpPr>
            <p:cNvPr id="13" name="Google Shape;708;p79">
              <a:extLst>
                <a:ext uri="{FF2B5EF4-FFF2-40B4-BE49-F238E27FC236}">
                  <a16:creationId xmlns:a16="http://schemas.microsoft.com/office/drawing/2014/main" id="{94387C94-F2FD-ECEB-6662-97F8AF15840C}"/>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4" name="Google Shape;709;p79">
              <a:extLst>
                <a:ext uri="{FF2B5EF4-FFF2-40B4-BE49-F238E27FC236}">
                  <a16:creationId xmlns:a16="http://schemas.microsoft.com/office/drawing/2014/main" id="{85FE4960-F8AF-2A7E-C754-2A8DA69C46A0}"/>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grpSp>
        <p:nvGrpSpPr>
          <p:cNvPr id="4" name="Group 3">
            <a:extLst>
              <a:ext uri="{FF2B5EF4-FFF2-40B4-BE49-F238E27FC236}">
                <a16:creationId xmlns:a16="http://schemas.microsoft.com/office/drawing/2014/main" id="{C3A87693-1358-9958-58BD-00A087E64A27}"/>
              </a:ext>
            </a:extLst>
          </p:cNvPr>
          <p:cNvGrpSpPr/>
          <p:nvPr/>
        </p:nvGrpSpPr>
        <p:grpSpPr>
          <a:xfrm>
            <a:off x="9641294" y="157007"/>
            <a:ext cx="2107794" cy="220267"/>
            <a:chOff x="9641294" y="157007"/>
            <a:chExt cx="2107794" cy="220267"/>
          </a:xfrm>
        </p:grpSpPr>
        <p:sp>
          <p:nvSpPr>
            <p:cNvPr id="5" name="Rectangle 4">
              <a:extLst>
                <a:ext uri="{FF2B5EF4-FFF2-40B4-BE49-F238E27FC236}">
                  <a16:creationId xmlns:a16="http://schemas.microsoft.com/office/drawing/2014/main" id="{B1278064-9CE9-46B7-7AEC-88BDDB78EFC2}"/>
                </a:ext>
              </a:extLst>
            </p:cNvPr>
            <p:cNvSpPr/>
            <p:nvPr/>
          </p:nvSpPr>
          <p:spPr>
            <a:xfrm>
              <a:off x="10366138" y="159786"/>
              <a:ext cx="138295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Individual resilience</a:t>
              </a:r>
              <a:endParaRPr kumimoji="0" lang="en-US" sz="800" b="1" i="0" u="none" strike="noStrike" kern="0" cap="none" spc="0" normalizeH="0" baseline="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C6FB013E-85C3-329C-5C5A-8AF6ADA8A638}"/>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8027A590-A308-A7BD-BCC7-B7044221EA62}"/>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DB4EE489-8314-893A-8566-451BF047F3DA}"/>
                </a:ext>
              </a:extLst>
            </p:cNvPr>
            <p:cNvSpPr/>
            <p:nvPr/>
          </p:nvSpPr>
          <p:spPr>
            <a:xfrm>
              <a:off x="10124522"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6.3</a:t>
              </a:r>
              <a:endParaRPr kumimoji="0" lang="lv-LV" sz="800" b="1" i="0" u="none" strike="noStrike" kern="0" cap="none" spc="0" normalizeH="0" baseline="0">
                <a:ln>
                  <a:noFill/>
                </a:ln>
                <a:effectLst/>
                <a:uLnTx/>
                <a:uFillTx/>
                <a:ea typeface="Georgia"/>
                <a:cs typeface="Georgia"/>
                <a:sym typeface="Georgia"/>
              </a:endParaRPr>
            </a:p>
          </p:txBody>
        </p:sp>
      </p:grpSp>
    </p:spTree>
    <p:extLst>
      <p:ext uri="{BB962C8B-B14F-4D97-AF65-F5344CB8AC3E}">
        <p14:creationId xmlns:p14="http://schemas.microsoft.com/office/powerpoint/2010/main" val="14750813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1B8A44E7-19E5-A20C-F48D-594110954FB3}"/>
              </a:ext>
            </a:extLst>
          </p:cNvPr>
          <p:cNvGraphicFramePr>
            <a:graphicFrameLocks noChangeAspect="1"/>
          </p:cNvGraphicFramePr>
          <p:nvPr>
            <p:custDataLst>
              <p:tags r:id="rId1"/>
            </p:custDataLst>
            <p:extLst>
              <p:ext uri="{D42A27DB-BD31-4B8C-83A1-F6EECF244321}">
                <p14:modId xmlns:p14="http://schemas.microsoft.com/office/powerpoint/2010/main" val="22284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6" name="think-cell data - do not delete" hidden="1">
                        <a:extLst>
                          <a:ext uri="{FF2B5EF4-FFF2-40B4-BE49-F238E27FC236}">
                            <a16:creationId xmlns:a16="http://schemas.microsoft.com/office/drawing/2014/main" id="{1B8A44E7-19E5-A20C-F48D-594110954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D19ED60-FB40-3E6A-F0F4-727C7A4C53D7}"/>
              </a:ext>
            </a:extLst>
          </p:cNvPr>
          <p:cNvSpPr>
            <a:spLocks noGrp="1"/>
          </p:cNvSpPr>
          <p:nvPr>
            <p:ph type="title"/>
          </p:nvPr>
        </p:nvSpPr>
        <p:spPr>
          <a:xfrm>
            <a:off x="442913" y="432001"/>
            <a:ext cx="11306175" cy="1387274"/>
          </a:xfrm>
        </p:spPr>
        <p:txBody>
          <a:bodyPr vert="horz" rtlCol="0"/>
          <a:lstStyle/>
          <a:p>
            <a:pPr rtl="0"/>
            <a:r>
              <a:rPr lang="en-gb"/>
              <a:t>Establishment of shelters and their requirements</a:t>
            </a:r>
            <a:endParaRPr lang="en-GB"/>
          </a:p>
        </p:txBody>
      </p:sp>
      <p:sp>
        <p:nvSpPr>
          <p:cNvPr id="4" name="Slide Number Placeholder 3">
            <a:extLst>
              <a:ext uri="{FF2B5EF4-FFF2-40B4-BE49-F238E27FC236}">
                <a16:creationId xmlns:a16="http://schemas.microsoft.com/office/drawing/2014/main" id="{01F75C5C-E0ED-171A-FD9C-3FD431847ADE}"/>
              </a:ext>
            </a:extLst>
          </p:cNvPr>
          <p:cNvSpPr>
            <a:spLocks noGrp="1"/>
          </p:cNvSpPr>
          <p:nvPr>
            <p:ph type="sldNum" sz="quarter" idx="11"/>
          </p:nvPr>
        </p:nvSpPr>
        <p:spPr/>
        <p:txBody>
          <a:bodyPr rtlCol="0"/>
          <a:lstStyle/>
          <a:p>
            <a:pPr rtl="0"/>
            <a:fld id="{7870704B-CE94-48CC-AF30-84932A1262A7}" type="slidenum">
              <a:rPr lang="en-GB" smtClean="0"/>
              <a:pPr/>
              <a:t>33</a:t>
            </a:fld>
            <a:endParaRPr lang="en-GB"/>
          </a:p>
        </p:txBody>
      </p:sp>
      <p:sp>
        <p:nvSpPr>
          <p:cNvPr id="7" name="Rectangle 6">
            <a:extLst>
              <a:ext uri="{FF2B5EF4-FFF2-40B4-BE49-F238E27FC236}">
                <a16:creationId xmlns:a16="http://schemas.microsoft.com/office/drawing/2014/main" id="{52823122-2178-6146-CAE1-A73089AB22A3}"/>
              </a:ext>
            </a:extLst>
          </p:cNvPr>
          <p:cNvSpPr/>
          <p:nvPr/>
        </p:nvSpPr>
        <p:spPr>
          <a:xfrm>
            <a:off x="8218488" y="1818146"/>
            <a:ext cx="3530600" cy="33468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rtl="0"/>
            <a:endParaRPr lang="lv-LV" sz="1400" b="1">
              <a:solidFill>
                <a:srgbClr val="C00000"/>
              </a:solidFill>
              <a:latin typeface="Arial" panose="020B0604020202020204" pitchFamily="34" charset="0"/>
            </a:endParaRPr>
          </a:p>
        </p:txBody>
      </p:sp>
      <p:pic>
        <p:nvPicPr>
          <p:cNvPr id="5122" name="Picture 2" descr="Patvertnes zīme: Zaļš kvadrāts, kuram pa vidu ir vairoga forma baltā krāsā. Vairogam vidū izvietota zaļa mājas figūra, kurā iekšā ievietoti četru cilvēku silueti baltā krāsā">
            <a:extLst>
              <a:ext uri="{FF2B5EF4-FFF2-40B4-BE49-F238E27FC236}">
                <a16:creationId xmlns:a16="http://schemas.microsoft.com/office/drawing/2014/main" id="{FF042E1A-71D6-EBB4-DAE5-6D7BEA16A49A}"/>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218488" y="1818146"/>
            <a:ext cx="3530598" cy="3548251"/>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6C868474-8FA5-9D0A-A7DE-4C5F33CDA8A6}"/>
              </a:ext>
            </a:extLst>
          </p:cNvPr>
          <p:cNvSpPr/>
          <p:nvPr/>
        </p:nvSpPr>
        <p:spPr>
          <a:xfrm>
            <a:off x="442914" y="1819275"/>
            <a:ext cx="6771498" cy="73856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r>
              <a:rPr lang="en-gb" sz="1400" b="1">
                <a:solidFill>
                  <a:schemeClr val="bg1"/>
                </a:solidFill>
              </a:rPr>
              <a:t>Shelters are intended to be used in the event of war or military emergency to provide shelter for the population and to reduce the impact of blast, debris, thermal radiation or radiation contamination.</a:t>
            </a:r>
          </a:p>
        </p:txBody>
      </p:sp>
      <p:sp>
        <p:nvSpPr>
          <p:cNvPr id="32" name="Rectangle 31">
            <a:extLst>
              <a:ext uri="{FF2B5EF4-FFF2-40B4-BE49-F238E27FC236}">
                <a16:creationId xmlns:a16="http://schemas.microsoft.com/office/drawing/2014/main" id="{4B0A2F5A-F216-025C-CF24-8E94B11CC89A}"/>
              </a:ext>
            </a:extLst>
          </p:cNvPr>
          <p:cNvSpPr/>
          <p:nvPr/>
        </p:nvSpPr>
        <p:spPr>
          <a:xfrm>
            <a:off x="7122740" y="1819275"/>
            <a:ext cx="738560" cy="73856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4" name="Rectangle 33">
            <a:extLst>
              <a:ext uri="{FF2B5EF4-FFF2-40B4-BE49-F238E27FC236}">
                <a16:creationId xmlns:a16="http://schemas.microsoft.com/office/drawing/2014/main" id="{9EC21924-C562-6A20-3560-ED5B8BFE431A}"/>
              </a:ext>
            </a:extLst>
          </p:cNvPr>
          <p:cNvSpPr/>
          <p:nvPr/>
        </p:nvSpPr>
        <p:spPr>
          <a:xfrm>
            <a:off x="7051620" y="1819275"/>
            <a:ext cx="72000" cy="7381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9" name="Google Shape;1800;p93">
            <a:extLst>
              <a:ext uri="{FF2B5EF4-FFF2-40B4-BE49-F238E27FC236}">
                <a16:creationId xmlns:a16="http://schemas.microsoft.com/office/drawing/2014/main" id="{3AE8FC83-84F4-AD93-3DA8-176A0E32392F}"/>
              </a:ext>
            </a:extLst>
          </p:cNvPr>
          <p:cNvSpPr/>
          <p:nvPr/>
        </p:nvSpPr>
        <p:spPr>
          <a:xfrm>
            <a:off x="7312020" y="2008555"/>
            <a:ext cx="360000" cy="360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5" name="Rectangle 14">
            <a:extLst>
              <a:ext uri="{FF2B5EF4-FFF2-40B4-BE49-F238E27FC236}">
                <a16:creationId xmlns:a16="http://schemas.microsoft.com/office/drawing/2014/main" id="{4E55A34D-00FC-AA58-AE76-AF9694B7E9B8}"/>
              </a:ext>
            </a:extLst>
          </p:cNvPr>
          <p:cNvSpPr/>
          <p:nvPr/>
        </p:nvSpPr>
        <p:spPr>
          <a:xfrm>
            <a:off x="8218488" y="5415281"/>
            <a:ext cx="3530599" cy="10107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gb" sz="1100" dirty="0">
                <a:solidFill>
                  <a:schemeClr val="tx1"/>
                </a:solidFill>
                <a:hlinkClick r:id="rId7">
                  <a:extLst>
                    <a:ext uri="{A12FA001-AC4F-418D-AE19-62706E023703}">
                      <ahyp:hlinkClr xmlns:ahyp="http://schemas.microsoft.com/office/drawing/2018/hyperlinkcolor" val="tx"/>
                    </a:ext>
                  </a:extLst>
                </a:hlinkClick>
              </a:rPr>
              <a:t>For more information on minimum technical requirements and additional recommendations, see Guidelines on minimum technical requirements for potential shelters</a:t>
            </a:r>
            <a:endParaRPr lang="lv-LV" sz="1100" dirty="0">
              <a:solidFill>
                <a:schemeClr val="tx1"/>
              </a:solidFill>
            </a:endParaRPr>
          </a:p>
        </p:txBody>
      </p:sp>
      <p:sp>
        <p:nvSpPr>
          <p:cNvPr id="16" name="Freeform 50">
            <a:extLst>
              <a:ext uri="{FF2B5EF4-FFF2-40B4-BE49-F238E27FC236}">
                <a16:creationId xmlns:a16="http://schemas.microsoft.com/office/drawing/2014/main" id="{ED0923EA-A27F-F1CF-2E82-3D26491C6662}"/>
              </a:ext>
            </a:extLst>
          </p:cNvPr>
          <p:cNvSpPr>
            <a:spLocks noChangeAspect="1"/>
          </p:cNvSpPr>
          <p:nvPr/>
        </p:nvSpPr>
        <p:spPr bwMode="auto">
          <a:xfrm>
            <a:off x="8349088" y="56521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sp>
        <p:nvSpPr>
          <p:cNvPr id="6" name="TextBox 5">
            <a:extLst>
              <a:ext uri="{FF2B5EF4-FFF2-40B4-BE49-F238E27FC236}">
                <a16:creationId xmlns:a16="http://schemas.microsoft.com/office/drawing/2014/main" id="{01643C58-DCAE-089A-ACA4-486D3034766A}"/>
              </a:ext>
            </a:extLst>
          </p:cNvPr>
          <p:cNvSpPr txBox="1"/>
          <p:nvPr/>
        </p:nvSpPr>
        <p:spPr>
          <a:xfrm>
            <a:off x="442912" y="2557835"/>
            <a:ext cx="7418388" cy="360000"/>
          </a:xfrm>
          <a:prstGeom prst="rect">
            <a:avLst/>
          </a:prstGeom>
          <a:solidFill>
            <a:srgbClr val="D18D85"/>
          </a:solidFill>
        </p:spPr>
        <p:txBody>
          <a:bodyPr wrap="square" lIns="72000" tIns="72000" rIns="72000" bIns="72000" rtlCol="0" anchor="ctr">
            <a:noAutofit/>
          </a:bodyPr>
          <a:lstStyle/>
          <a:p>
            <a:pPr marL="0" lvl="1" rtl="0"/>
            <a:r>
              <a:rPr lang="en-gb" sz="1400" b="1">
                <a:solidFill>
                  <a:srgbClr val="212529"/>
                </a:solidFill>
              </a:rPr>
              <a:t>Individuals</a:t>
            </a:r>
            <a:r>
              <a:rPr lang="en-gb" sz="1400">
                <a:solidFill>
                  <a:srgbClr val="212529"/>
                </a:solidFill>
              </a:rPr>
              <a:t> can set up 2 types of shelters: </a:t>
            </a:r>
            <a:endParaRPr lang="lv-LV" sz="1400">
              <a:solidFill>
                <a:srgbClr val="212529"/>
              </a:solidFill>
              <a:cs typeface="Arial"/>
            </a:endParaRPr>
          </a:p>
        </p:txBody>
      </p:sp>
      <p:sp>
        <p:nvSpPr>
          <p:cNvPr id="8" name="Rectangle 7">
            <a:extLst>
              <a:ext uri="{FF2B5EF4-FFF2-40B4-BE49-F238E27FC236}">
                <a16:creationId xmlns:a16="http://schemas.microsoft.com/office/drawing/2014/main" id="{1CE0BD0A-C0FD-53FC-2622-ABA62203BE2A}"/>
              </a:ext>
            </a:extLst>
          </p:cNvPr>
          <p:cNvSpPr/>
          <p:nvPr/>
        </p:nvSpPr>
        <p:spPr>
          <a:xfrm>
            <a:off x="1107653" y="3065290"/>
            <a:ext cx="67536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A shelter in the basement or underground floor of your property that is for the exclusive use of the occupants of that building (in accordance with the guidelines of the SFRS).</a:t>
            </a:r>
          </a:p>
        </p:txBody>
      </p:sp>
      <p:sp>
        <p:nvSpPr>
          <p:cNvPr id="9" name="Rectangle 8">
            <a:extLst>
              <a:ext uri="{FF2B5EF4-FFF2-40B4-BE49-F238E27FC236}">
                <a16:creationId xmlns:a16="http://schemas.microsoft.com/office/drawing/2014/main" id="{C7C2874E-79AE-932F-6B8C-33BDBAFD9B0E}"/>
              </a:ext>
            </a:extLst>
          </p:cNvPr>
          <p:cNvSpPr/>
          <p:nvPr/>
        </p:nvSpPr>
        <p:spPr>
          <a:xfrm>
            <a:off x="442913" y="306529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0" name="L-Shape 9">
            <a:extLst>
              <a:ext uri="{FF2B5EF4-FFF2-40B4-BE49-F238E27FC236}">
                <a16:creationId xmlns:a16="http://schemas.microsoft.com/office/drawing/2014/main" id="{F6959393-D523-81D8-8DE7-C82B383C9AEA}"/>
              </a:ext>
            </a:extLst>
          </p:cNvPr>
          <p:cNvSpPr/>
          <p:nvPr/>
        </p:nvSpPr>
        <p:spPr>
          <a:xfrm rot="13500000">
            <a:off x="559307" y="323490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11" name="Straight Connector 10">
            <a:extLst>
              <a:ext uri="{FF2B5EF4-FFF2-40B4-BE49-F238E27FC236}">
                <a16:creationId xmlns:a16="http://schemas.microsoft.com/office/drawing/2014/main" id="{89456A82-C2F9-1AD9-D3BD-F7AA09705EEF}"/>
              </a:ext>
            </a:extLst>
          </p:cNvPr>
          <p:cNvCxnSpPr>
            <a:cxnSpLocks/>
          </p:cNvCxnSpPr>
          <p:nvPr/>
        </p:nvCxnSpPr>
        <p:spPr>
          <a:xfrm>
            <a:off x="1108075" y="3747668"/>
            <a:ext cx="6753225"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2" name="Rectangle 11">
            <a:extLst>
              <a:ext uri="{FF2B5EF4-FFF2-40B4-BE49-F238E27FC236}">
                <a16:creationId xmlns:a16="http://schemas.microsoft.com/office/drawing/2014/main" id="{972A7998-816F-826F-D470-21259763D3BA}"/>
              </a:ext>
            </a:extLst>
          </p:cNvPr>
          <p:cNvSpPr/>
          <p:nvPr/>
        </p:nvSpPr>
        <p:spPr>
          <a:xfrm>
            <a:off x="1107653" y="3818254"/>
            <a:ext cx="6753647" cy="831639"/>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dirty="0">
                <a:solidFill>
                  <a:schemeClr val="tx1"/>
                </a:solidFill>
                <a:effectLst/>
              </a:rPr>
              <a:t>A shelter in the basement or underground floor of your property, which will be accessible to any person in the vicinity (to be agreed with the Municipality). </a:t>
            </a:r>
            <a:r>
              <a:rPr lang="en-gb" sz="1400" b="1" i="0" dirty="0">
                <a:solidFill>
                  <a:schemeClr val="tx1"/>
                </a:solidFill>
                <a:effectLst/>
              </a:rPr>
              <a:t>A sign</a:t>
            </a:r>
            <a:r>
              <a:rPr lang="lv-LV" sz="1400" b="1" i="0" dirty="0">
                <a:solidFill>
                  <a:schemeClr val="tx1"/>
                </a:solidFill>
                <a:effectLst/>
              </a:rPr>
              <a:t> </a:t>
            </a:r>
            <a:r>
              <a:rPr lang="lv-LV" sz="1400" b="1" i="0" dirty="0" err="1">
                <a:solidFill>
                  <a:schemeClr val="tx1"/>
                </a:solidFill>
                <a:effectLst/>
              </a:rPr>
              <a:t>is</a:t>
            </a:r>
            <a:r>
              <a:rPr lang="lv-LV" sz="1400" b="1" i="0" dirty="0">
                <a:solidFill>
                  <a:schemeClr val="tx1"/>
                </a:solidFill>
                <a:effectLst/>
              </a:rPr>
              <a:t> put </a:t>
            </a:r>
            <a:r>
              <a:rPr lang="lv-LV" sz="1400" b="1" i="0" dirty="0" err="1">
                <a:solidFill>
                  <a:schemeClr val="tx1"/>
                </a:solidFill>
                <a:effectLst/>
              </a:rPr>
              <a:t>up</a:t>
            </a:r>
            <a:r>
              <a:rPr lang="en-gb" sz="1400" b="1" i="0" dirty="0">
                <a:solidFill>
                  <a:schemeClr val="tx1"/>
                </a:solidFill>
                <a:effectLst/>
              </a:rPr>
              <a:t> indicating that a shelter has been installed </a:t>
            </a:r>
            <a:r>
              <a:rPr lang="lv-LV" sz="1400" b="1" i="0" dirty="0" err="1">
                <a:solidFill>
                  <a:schemeClr val="tx1"/>
                </a:solidFill>
                <a:effectLst/>
              </a:rPr>
              <a:t>in</a:t>
            </a:r>
            <a:r>
              <a:rPr lang="lv-LV" sz="1400" b="1" i="0" dirty="0">
                <a:solidFill>
                  <a:schemeClr val="tx1"/>
                </a:solidFill>
                <a:effectLst/>
              </a:rPr>
              <a:t> </a:t>
            </a:r>
            <a:r>
              <a:rPr lang="lv-LV" sz="1400" b="1" i="0" dirty="0" err="1">
                <a:solidFill>
                  <a:schemeClr val="tx1"/>
                </a:solidFill>
                <a:effectLst/>
              </a:rPr>
              <a:t>the</a:t>
            </a:r>
            <a:r>
              <a:rPr lang="lv-LV" sz="1400" b="1" i="0" dirty="0">
                <a:solidFill>
                  <a:schemeClr val="tx1"/>
                </a:solidFill>
                <a:effectLst/>
              </a:rPr>
              <a:t> </a:t>
            </a:r>
            <a:r>
              <a:rPr lang="lv-LV" sz="1400" b="1" i="0" dirty="0" err="1">
                <a:solidFill>
                  <a:schemeClr val="tx1"/>
                </a:solidFill>
                <a:effectLst/>
              </a:rPr>
              <a:t>building</a:t>
            </a:r>
            <a:r>
              <a:rPr lang="en-gb" sz="1400" b="1" i="0" dirty="0">
                <a:solidFill>
                  <a:schemeClr val="tx1"/>
                </a:solidFill>
                <a:effectLst/>
              </a:rPr>
              <a:t>.</a:t>
            </a:r>
          </a:p>
        </p:txBody>
      </p:sp>
      <p:sp>
        <p:nvSpPr>
          <p:cNvPr id="13" name="Rectangle 12">
            <a:extLst>
              <a:ext uri="{FF2B5EF4-FFF2-40B4-BE49-F238E27FC236}">
                <a16:creationId xmlns:a16="http://schemas.microsoft.com/office/drawing/2014/main" id="{537F67BD-7488-9162-EA91-5BC2E2622BCE}"/>
              </a:ext>
            </a:extLst>
          </p:cNvPr>
          <p:cNvSpPr/>
          <p:nvPr/>
        </p:nvSpPr>
        <p:spPr>
          <a:xfrm>
            <a:off x="442913" y="3820673"/>
            <a:ext cx="576263" cy="829219"/>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4" name="L-Shape 13">
            <a:extLst>
              <a:ext uri="{FF2B5EF4-FFF2-40B4-BE49-F238E27FC236}">
                <a16:creationId xmlns:a16="http://schemas.microsoft.com/office/drawing/2014/main" id="{A8B12464-A964-CFAA-65EA-FF5EC36728B1}"/>
              </a:ext>
            </a:extLst>
          </p:cNvPr>
          <p:cNvSpPr/>
          <p:nvPr/>
        </p:nvSpPr>
        <p:spPr>
          <a:xfrm rot="13500000">
            <a:off x="559307" y="409889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pic>
        <p:nvPicPr>
          <p:cNvPr id="38" name="Picture 37">
            <a:extLst>
              <a:ext uri="{FF2B5EF4-FFF2-40B4-BE49-F238E27FC236}">
                <a16:creationId xmlns:a16="http://schemas.microsoft.com/office/drawing/2014/main" id="{B97130AB-8F2F-9E4F-6699-B48F0E809F2F}"/>
              </a:ext>
            </a:extLst>
          </p:cNvPr>
          <p:cNvPicPr>
            <a:picLocks noChangeAspect="1"/>
          </p:cNvPicPr>
          <p:nvPr/>
        </p:nvPicPr>
        <p:blipFill rotWithShape="1">
          <a:blip r:embed="rId8"/>
          <a:srcRect l="6532" t="28576" r="21491" b="51281"/>
          <a:stretch/>
        </p:blipFill>
        <p:spPr>
          <a:xfrm>
            <a:off x="457668" y="4790857"/>
            <a:ext cx="7403632" cy="1381342"/>
          </a:xfrm>
          <a:prstGeom prst="rect">
            <a:avLst/>
          </a:prstGeom>
        </p:spPr>
      </p:pic>
      <p:grpSp>
        <p:nvGrpSpPr>
          <p:cNvPr id="40" name="Group 39">
            <a:extLst>
              <a:ext uri="{FF2B5EF4-FFF2-40B4-BE49-F238E27FC236}">
                <a16:creationId xmlns:a16="http://schemas.microsoft.com/office/drawing/2014/main" id="{C24AEE0D-4C80-CF2E-1EE2-39DBBCA3C7E6}"/>
              </a:ext>
            </a:extLst>
          </p:cNvPr>
          <p:cNvGrpSpPr/>
          <p:nvPr/>
        </p:nvGrpSpPr>
        <p:grpSpPr>
          <a:xfrm>
            <a:off x="9641294" y="157007"/>
            <a:ext cx="2107794" cy="220267"/>
            <a:chOff x="9641294" y="157007"/>
            <a:chExt cx="2107794" cy="220267"/>
          </a:xfrm>
        </p:grpSpPr>
        <p:sp>
          <p:nvSpPr>
            <p:cNvPr id="41" name="Rectangle 40">
              <a:extLst>
                <a:ext uri="{FF2B5EF4-FFF2-40B4-BE49-F238E27FC236}">
                  <a16:creationId xmlns:a16="http://schemas.microsoft.com/office/drawing/2014/main" id="{37EC7041-0A60-D646-A013-B9E0816B6A62}"/>
                </a:ext>
              </a:extLst>
            </p:cNvPr>
            <p:cNvSpPr/>
            <p:nvPr/>
          </p:nvSpPr>
          <p:spPr>
            <a:xfrm>
              <a:off x="10366138" y="159786"/>
              <a:ext cx="138295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Individual resilience</a:t>
              </a:r>
              <a:endParaRPr kumimoji="0" lang="en-US" sz="800" b="1" i="0" u="none" strike="noStrike" kern="0" cap="none" spc="0" normalizeH="0" baseline="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114E947E-2F8A-BAD9-D9AB-9502D426C5F8}"/>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21E04257-1C96-6D46-4157-285EBCAA82BC}"/>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4" name="Rectangle 43">
              <a:extLst>
                <a:ext uri="{FF2B5EF4-FFF2-40B4-BE49-F238E27FC236}">
                  <a16:creationId xmlns:a16="http://schemas.microsoft.com/office/drawing/2014/main" id="{C0D018E7-FA8C-1224-DD89-4EB311BCE0D4}"/>
                </a:ext>
              </a:extLst>
            </p:cNvPr>
            <p:cNvSpPr/>
            <p:nvPr/>
          </p:nvSpPr>
          <p:spPr>
            <a:xfrm>
              <a:off x="10124522"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6.3</a:t>
              </a:r>
              <a:endParaRPr kumimoji="0" lang="lv-LV" sz="800" b="1" i="0" u="none" strike="noStrike" kern="0" cap="none" spc="0" normalizeH="0" baseline="0">
                <a:ln>
                  <a:noFill/>
                </a:ln>
                <a:effectLst/>
                <a:uLnTx/>
                <a:uFillTx/>
                <a:ea typeface="Georgia"/>
                <a:cs typeface="Georgia"/>
                <a:sym typeface="Georgia"/>
              </a:endParaRPr>
            </a:p>
          </p:txBody>
        </p:sp>
      </p:grpSp>
    </p:spTree>
    <p:extLst>
      <p:ext uri="{BB962C8B-B14F-4D97-AF65-F5344CB8AC3E}">
        <p14:creationId xmlns:p14="http://schemas.microsoft.com/office/powerpoint/2010/main" val="17906404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19ED60-FB40-3E6A-F0F4-727C7A4C53D7}"/>
              </a:ext>
            </a:extLst>
          </p:cNvPr>
          <p:cNvSpPr>
            <a:spLocks noGrp="1"/>
          </p:cNvSpPr>
          <p:nvPr>
            <p:ph type="title"/>
          </p:nvPr>
        </p:nvSpPr>
        <p:spPr>
          <a:xfrm>
            <a:off x="442913" y="432001"/>
            <a:ext cx="11306175" cy="1387274"/>
          </a:xfrm>
        </p:spPr>
        <p:txBody>
          <a:bodyPr vert="horz" rtlCol="0"/>
          <a:lstStyle/>
          <a:p>
            <a:pPr rtl="0"/>
            <a:r>
              <a:rPr lang="en-gb"/>
              <a:t>Establishment of shelters and their requirements</a:t>
            </a:r>
          </a:p>
        </p:txBody>
      </p:sp>
      <p:sp>
        <p:nvSpPr>
          <p:cNvPr id="4" name="Slide Number Placeholder 3">
            <a:extLst>
              <a:ext uri="{FF2B5EF4-FFF2-40B4-BE49-F238E27FC236}">
                <a16:creationId xmlns:a16="http://schemas.microsoft.com/office/drawing/2014/main" id="{01F75C5C-E0ED-171A-FD9C-3FD431847ADE}"/>
              </a:ext>
            </a:extLst>
          </p:cNvPr>
          <p:cNvSpPr>
            <a:spLocks noGrp="1"/>
          </p:cNvSpPr>
          <p:nvPr>
            <p:ph type="sldNum" sz="quarter" idx="11"/>
          </p:nvPr>
        </p:nvSpPr>
        <p:spPr/>
        <p:txBody>
          <a:bodyPr rtlCol="0"/>
          <a:lstStyle/>
          <a:p>
            <a:pPr rtl="0"/>
            <a:fld id="{7870704B-CE94-48CC-AF30-84932A1262A7}" type="slidenum">
              <a:rPr lang="lv-LV" smtClean="0"/>
              <a:pPr/>
              <a:t>34</a:t>
            </a:fld>
            <a:endParaRPr lang="lv-LV"/>
          </a:p>
        </p:txBody>
      </p:sp>
      <p:sp>
        <p:nvSpPr>
          <p:cNvPr id="7" name="Rectangle 6">
            <a:extLst>
              <a:ext uri="{FF2B5EF4-FFF2-40B4-BE49-F238E27FC236}">
                <a16:creationId xmlns:a16="http://schemas.microsoft.com/office/drawing/2014/main" id="{52823122-2178-6146-CAE1-A73089AB22A3}"/>
              </a:ext>
            </a:extLst>
          </p:cNvPr>
          <p:cNvSpPr/>
          <p:nvPr/>
        </p:nvSpPr>
        <p:spPr>
          <a:xfrm>
            <a:off x="8218488" y="1818146"/>
            <a:ext cx="3530600" cy="334687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rtl="0"/>
            <a:endParaRPr lang="lv-LV" sz="1400" b="1">
              <a:solidFill>
                <a:srgbClr val="C00000"/>
              </a:solidFill>
              <a:latin typeface="Arial" panose="020B0604020202020204" pitchFamily="34" charset="0"/>
            </a:endParaRPr>
          </a:p>
        </p:txBody>
      </p:sp>
      <p:sp>
        <p:nvSpPr>
          <p:cNvPr id="36" name="Rectangle 35">
            <a:extLst>
              <a:ext uri="{FF2B5EF4-FFF2-40B4-BE49-F238E27FC236}">
                <a16:creationId xmlns:a16="http://schemas.microsoft.com/office/drawing/2014/main" id="{2D8E69C8-6B9D-7B36-6B28-D62A2C35F158}"/>
              </a:ext>
            </a:extLst>
          </p:cNvPr>
          <p:cNvSpPr/>
          <p:nvPr/>
        </p:nvSpPr>
        <p:spPr>
          <a:xfrm>
            <a:off x="442913" y="2395275"/>
            <a:ext cx="7418388" cy="377692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228600" lvl="1" indent="-228600" algn="l" rtl="0">
              <a:spcAft>
                <a:spcPts val="600"/>
              </a:spcAft>
              <a:buFont typeface="+mj-lt"/>
              <a:buAutoNum type="arabicPeriod"/>
            </a:pPr>
            <a:r>
              <a:rPr lang="en-gb" sz="1100" b="0" i="0" dirty="0">
                <a:solidFill>
                  <a:srgbClr val="212529"/>
                </a:solidFill>
                <a:effectLst/>
              </a:rPr>
              <a:t>The best choice is a basement with a reinforced concrete slab and masonry</a:t>
            </a:r>
            <a:r>
              <a:rPr lang="en-gb" sz="1100" dirty="0">
                <a:solidFill>
                  <a:srgbClr val="212529"/>
                </a:solidFill>
              </a:rPr>
              <a:t> </a:t>
            </a:r>
            <a:r>
              <a:rPr lang="en-gb" sz="1100" b="0" i="0" dirty="0">
                <a:solidFill>
                  <a:srgbClr val="212529"/>
                </a:solidFill>
                <a:effectLst/>
              </a:rPr>
              <a:t>walls.</a:t>
            </a:r>
          </a:p>
          <a:p>
            <a:pPr marL="228600" lvl="1" indent="-228600" algn="l" rtl="0">
              <a:spcAft>
                <a:spcPts val="600"/>
              </a:spcAft>
              <a:buFont typeface="+mj-lt"/>
              <a:buAutoNum type="arabicPeriod"/>
            </a:pPr>
            <a:r>
              <a:rPr lang="en-gb" sz="1100" b="0" i="0" dirty="0">
                <a:solidFill>
                  <a:srgbClr val="212529"/>
                </a:solidFill>
                <a:effectLst/>
              </a:rPr>
              <a:t>Shelves made of durable material should be created along the walls, which can provide additional support to the wall, shelving and bed space.</a:t>
            </a:r>
          </a:p>
          <a:p>
            <a:pPr marL="228600" lvl="1" indent="-228600" rtl="0">
              <a:spcAft>
                <a:spcPts val="600"/>
              </a:spcAft>
              <a:buFont typeface="+mj-lt"/>
              <a:buAutoNum type="arabicPeriod"/>
            </a:pPr>
            <a:r>
              <a:rPr lang="en-gb" sz="1100" dirty="0" err="1">
                <a:solidFill>
                  <a:srgbClr val="212529"/>
                </a:solidFill>
              </a:rPr>
              <a:t>An</a:t>
            </a:r>
            <a:r>
              <a:rPr lang="en-gb" sz="1100" b="0" i="0" dirty="0" err="1">
                <a:solidFill>
                  <a:srgbClr val="212529"/>
                </a:solidFill>
                <a:effectLst/>
              </a:rPr>
              <a:t>alternative</a:t>
            </a:r>
            <a:r>
              <a:rPr lang="en-gb" sz="1100" b="0" i="0" dirty="0">
                <a:solidFill>
                  <a:srgbClr val="212529"/>
                </a:solidFill>
                <a:effectLst/>
              </a:rPr>
              <a:t> exit from the shelter</a:t>
            </a:r>
            <a:r>
              <a:rPr lang="en-gb" sz="1100" dirty="0">
                <a:solidFill>
                  <a:srgbClr val="212529"/>
                </a:solidFill>
              </a:rPr>
              <a:t> must be provided</a:t>
            </a:r>
            <a:r>
              <a:rPr lang="lv-LV" sz="1100" dirty="0">
                <a:solidFill>
                  <a:srgbClr val="212529"/>
                </a:solidFill>
              </a:rPr>
              <a:t> </a:t>
            </a:r>
            <a:r>
              <a:rPr lang="en-gb" sz="1100" b="0" i="0" dirty="0">
                <a:solidFill>
                  <a:srgbClr val="212529"/>
                </a:solidFill>
                <a:effectLst/>
              </a:rPr>
              <a:t>or </a:t>
            </a:r>
            <a:r>
              <a:rPr lang="en-gb" sz="1100" dirty="0">
                <a:solidFill>
                  <a:srgbClr val="212529"/>
                </a:solidFill>
              </a:rPr>
              <a:t>created.</a:t>
            </a:r>
          </a:p>
          <a:p>
            <a:pPr marL="228600" lvl="1" indent="-228600" rtl="0">
              <a:spcAft>
                <a:spcPts val="600"/>
              </a:spcAft>
              <a:buFont typeface="+mj-lt"/>
              <a:buAutoNum type="arabicPeriod"/>
            </a:pPr>
            <a:r>
              <a:rPr lang="en-gb" sz="1100" b="0" i="0" dirty="0">
                <a:solidFill>
                  <a:srgbClr val="212529"/>
                </a:solidFill>
                <a:effectLst/>
              </a:rPr>
              <a:t>A ventilation system must be set up.</a:t>
            </a:r>
          </a:p>
          <a:p>
            <a:pPr marL="228600" lvl="1" indent="-228600" rtl="0">
              <a:spcAft>
                <a:spcPts val="600"/>
              </a:spcAft>
              <a:buFont typeface="+mj-lt"/>
              <a:buAutoNum type="arabicPeriod"/>
            </a:pPr>
            <a:r>
              <a:rPr lang="en-gb" sz="1100" dirty="0">
                <a:solidFill>
                  <a:srgbClr val="212529"/>
                </a:solidFill>
              </a:rPr>
              <a:t>An</a:t>
            </a:r>
            <a:r>
              <a:rPr lang="lv-LV" sz="1100" dirty="0">
                <a:solidFill>
                  <a:srgbClr val="212529"/>
                </a:solidFill>
              </a:rPr>
              <a:t> </a:t>
            </a:r>
            <a:r>
              <a:rPr lang="en-gb" sz="1100" b="0" i="0" dirty="0">
                <a:solidFill>
                  <a:srgbClr val="212529"/>
                </a:solidFill>
                <a:effectLst/>
              </a:rPr>
              <a:t>independent heating system (stove), smoke/gas extraction system, fire safety</a:t>
            </a:r>
            <a:r>
              <a:rPr lang="en-gb" sz="1100" dirty="0">
                <a:solidFill>
                  <a:srgbClr val="212529"/>
                </a:solidFill>
              </a:rPr>
              <a:t> should be considered.</a:t>
            </a:r>
          </a:p>
          <a:p>
            <a:pPr marL="228600" lvl="1" indent="-228600" rtl="0">
              <a:spcAft>
                <a:spcPts val="600"/>
              </a:spcAft>
              <a:buFont typeface="+mj-lt"/>
              <a:buAutoNum type="arabicPeriod"/>
            </a:pPr>
            <a:r>
              <a:rPr lang="en-gb" sz="1100" b="0" i="0" dirty="0">
                <a:solidFill>
                  <a:srgbClr val="212529"/>
                </a:solidFill>
                <a:effectLst/>
              </a:rPr>
              <a:t>If the cellar has windows, bags filled with sand or</a:t>
            </a:r>
            <a:r>
              <a:rPr lang="en-gb" sz="1100" dirty="0">
                <a:solidFill>
                  <a:srgbClr val="212529"/>
                </a:solidFill>
              </a:rPr>
              <a:t> </a:t>
            </a:r>
            <a:r>
              <a:rPr lang="en-gb" sz="1100" b="0" i="0" dirty="0">
                <a:solidFill>
                  <a:srgbClr val="212529"/>
                </a:solidFill>
                <a:effectLst/>
              </a:rPr>
              <a:t>other loose materials or concrete blocks etc. should be prepared to cover them</a:t>
            </a:r>
            <a:r>
              <a:rPr lang="en-gb" sz="1100" dirty="0">
                <a:solidFill>
                  <a:srgbClr val="212529"/>
                </a:solidFill>
              </a:rPr>
              <a:t> </a:t>
            </a:r>
            <a:r>
              <a:rPr lang="en-gb" sz="1100" b="0" i="0" dirty="0">
                <a:solidFill>
                  <a:srgbClr val="212529"/>
                </a:solidFill>
                <a:effectLst/>
              </a:rPr>
              <a:t>.</a:t>
            </a:r>
          </a:p>
          <a:p>
            <a:pPr marL="228600" lvl="1" indent="-228600" rtl="0">
              <a:spcAft>
                <a:spcPts val="600"/>
              </a:spcAft>
              <a:buFont typeface="+mj-lt"/>
              <a:buAutoNum type="arabicPeriod"/>
            </a:pPr>
            <a:r>
              <a:rPr lang="en-gb" sz="1100" dirty="0">
                <a:solidFill>
                  <a:srgbClr val="212529"/>
                </a:solidFill>
              </a:rPr>
              <a:t>A</a:t>
            </a:r>
            <a:r>
              <a:rPr lang="lv-LV" sz="1100">
                <a:solidFill>
                  <a:srgbClr val="212529"/>
                </a:solidFill>
              </a:rPr>
              <a:t> </a:t>
            </a:r>
            <a:r>
              <a:rPr lang="en-gb" sz="1100" b="0" i="0">
                <a:solidFill>
                  <a:srgbClr val="212529"/>
                </a:solidFill>
                <a:effectLst/>
              </a:rPr>
              <a:t>portable </a:t>
            </a:r>
            <a:r>
              <a:rPr lang="en-gb" sz="1100" b="0" i="0" dirty="0">
                <a:solidFill>
                  <a:srgbClr val="212529"/>
                </a:solidFill>
                <a:effectLst/>
              </a:rPr>
              <a:t>cooker for food preparation must be provided.</a:t>
            </a:r>
          </a:p>
          <a:p>
            <a:pPr marL="228600" lvl="1" indent="-228600" rtl="0">
              <a:spcAft>
                <a:spcPts val="600"/>
              </a:spcAft>
              <a:buFont typeface="+mj-lt"/>
              <a:buAutoNum type="arabicPeriod"/>
            </a:pPr>
            <a:r>
              <a:rPr lang="en-gb" sz="1100" b="0" i="0" dirty="0">
                <a:solidFill>
                  <a:srgbClr val="212529"/>
                </a:solidFill>
                <a:effectLst/>
              </a:rPr>
              <a:t>Drinking water (in containers or bottles) should be provided at a rate of 3 litres per person, along with some food and warm clothes.</a:t>
            </a:r>
          </a:p>
          <a:p>
            <a:pPr marL="228600" lvl="1" indent="-228600" rtl="0">
              <a:spcAft>
                <a:spcPts val="600"/>
              </a:spcAft>
              <a:buFont typeface="+mj-lt"/>
              <a:buAutoNum type="arabicPeriod"/>
            </a:pPr>
            <a:r>
              <a:rPr lang="en-gb" sz="1100" b="0" i="0" dirty="0">
                <a:solidFill>
                  <a:srgbClr val="212529"/>
                </a:solidFill>
                <a:effectLst/>
              </a:rPr>
              <a:t>Toilet facilities must be provided.</a:t>
            </a:r>
          </a:p>
          <a:p>
            <a:pPr marL="228600" lvl="1" indent="-228600" rtl="0">
              <a:spcAft>
                <a:spcPts val="600"/>
              </a:spcAft>
              <a:buFont typeface="+mj-lt"/>
              <a:buAutoNum type="arabicPeriod"/>
            </a:pPr>
            <a:r>
              <a:rPr lang="en-gb" sz="1100" b="0" i="0" dirty="0">
                <a:solidFill>
                  <a:srgbClr val="212529"/>
                </a:solidFill>
                <a:effectLst/>
              </a:rPr>
              <a:t>Where possible, space for food supplies, human accommodation and sanitation should be separated.</a:t>
            </a:r>
          </a:p>
          <a:p>
            <a:pPr marL="228600" lvl="1" indent="-228600" rtl="0">
              <a:spcAft>
                <a:spcPts val="600"/>
              </a:spcAft>
              <a:buFont typeface="+mj-lt"/>
              <a:buAutoNum type="arabicPeriod"/>
            </a:pPr>
            <a:r>
              <a:rPr lang="en-gb" sz="1100" b="0" i="0" dirty="0">
                <a:solidFill>
                  <a:srgbClr val="212529"/>
                </a:solidFill>
                <a:effectLst/>
              </a:rPr>
              <a:t>If there are young children in the family, prepare a board game or other means to keep them occupied.</a:t>
            </a:r>
          </a:p>
          <a:p>
            <a:pPr marL="228600" lvl="1" indent="-228600" rtl="0">
              <a:spcAft>
                <a:spcPts val="600"/>
              </a:spcAft>
              <a:buFont typeface="+mj-lt"/>
              <a:buAutoNum type="arabicPeriod"/>
            </a:pPr>
            <a:r>
              <a:rPr lang="en-gb" sz="1100" b="0" i="0" dirty="0">
                <a:solidFill>
                  <a:srgbClr val="212529"/>
                </a:solidFill>
                <a:effectLst/>
              </a:rPr>
              <a:t>One or more responsible persons should be designated to care for and maintain the accessibility and orderliness of the premises.</a:t>
            </a:r>
          </a:p>
        </p:txBody>
      </p:sp>
      <p:pic>
        <p:nvPicPr>
          <p:cNvPr id="5122" name="Picture 2" descr="Patvertnes zīme: Zaļš kvadrāts, kuram pa vidu ir vairoga forma baltā krāsā. Vairogam vidū izvietota zaļa mājas figūra, kurā iekšā ievietoti četru cilvēku silueti baltā krāsā">
            <a:extLst>
              <a:ext uri="{FF2B5EF4-FFF2-40B4-BE49-F238E27FC236}">
                <a16:creationId xmlns:a16="http://schemas.microsoft.com/office/drawing/2014/main" id="{FF042E1A-71D6-EBB4-DAE5-6D7BEA16A49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218488" y="1818146"/>
            <a:ext cx="3530598" cy="3548251"/>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18789BED-C705-8612-8A49-866C72DFAF0D}"/>
              </a:ext>
            </a:extLst>
          </p:cNvPr>
          <p:cNvSpPr/>
          <p:nvPr/>
        </p:nvSpPr>
        <p:spPr>
          <a:xfrm>
            <a:off x="8218488" y="5415281"/>
            <a:ext cx="3530599" cy="75691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gb" sz="1100">
                <a:solidFill>
                  <a:schemeClr val="tx1"/>
                </a:solidFill>
                <a:hlinkClick r:id="rId4">
                  <a:extLst>
                    <a:ext uri="{A12FA001-AC4F-418D-AE19-62706E023703}">
                      <ahyp:hlinkClr xmlns:ahyp="http://schemas.microsoft.com/office/drawing/2018/hyperlinkcolor" val="tx"/>
                    </a:ext>
                  </a:extLst>
                </a:hlinkClick>
              </a:rPr>
              <a:t>"What to do in case of war"</a:t>
            </a:r>
            <a:endParaRPr lang="lv-LV" sz="1100">
              <a:solidFill>
                <a:schemeClr val="tx1"/>
              </a:solidFill>
            </a:endParaRPr>
          </a:p>
        </p:txBody>
      </p:sp>
      <p:sp>
        <p:nvSpPr>
          <p:cNvPr id="18" name="Freeform 50">
            <a:extLst>
              <a:ext uri="{FF2B5EF4-FFF2-40B4-BE49-F238E27FC236}">
                <a16:creationId xmlns:a16="http://schemas.microsoft.com/office/drawing/2014/main" id="{DB52FBEF-0B43-A38F-3876-C9BBD5E11219}"/>
              </a:ext>
            </a:extLst>
          </p:cNvPr>
          <p:cNvSpPr>
            <a:spLocks noChangeAspect="1"/>
          </p:cNvSpPr>
          <p:nvPr/>
        </p:nvSpPr>
        <p:spPr bwMode="auto">
          <a:xfrm>
            <a:off x="8349088" y="56521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lv-LV" sz="983"/>
          </a:p>
        </p:txBody>
      </p:sp>
      <p:sp>
        <p:nvSpPr>
          <p:cNvPr id="29" name="Rectangle 28">
            <a:extLst>
              <a:ext uri="{FF2B5EF4-FFF2-40B4-BE49-F238E27FC236}">
                <a16:creationId xmlns:a16="http://schemas.microsoft.com/office/drawing/2014/main" id="{6C868474-8FA5-9D0A-A7DE-4C5F33CDA8A6}"/>
              </a:ext>
            </a:extLst>
          </p:cNvPr>
          <p:cNvSpPr/>
          <p:nvPr/>
        </p:nvSpPr>
        <p:spPr>
          <a:xfrm>
            <a:off x="442914" y="1819275"/>
            <a:ext cx="6771498"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600" b="1" dirty="0" err="1"/>
              <a:t>The</a:t>
            </a:r>
            <a:r>
              <a:rPr lang="lv-LV" sz="1600" b="1" dirty="0"/>
              <a:t> a</a:t>
            </a:r>
            <a:r>
              <a:rPr lang="en-gb" sz="1600" b="1" dirty="0" err="1"/>
              <a:t>daptation</a:t>
            </a:r>
            <a:r>
              <a:rPr lang="en-gb" sz="1600" b="1" dirty="0"/>
              <a:t> of basement or other underground space for shelter</a:t>
            </a:r>
          </a:p>
        </p:txBody>
      </p:sp>
      <p:sp>
        <p:nvSpPr>
          <p:cNvPr id="32" name="Rectangle 31">
            <a:extLst>
              <a:ext uri="{FF2B5EF4-FFF2-40B4-BE49-F238E27FC236}">
                <a16:creationId xmlns:a16="http://schemas.microsoft.com/office/drawing/2014/main" id="{4B0A2F5A-F216-025C-CF24-8E94B11CC89A}"/>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4" name="Rectangle 33">
            <a:extLst>
              <a:ext uri="{FF2B5EF4-FFF2-40B4-BE49-F238E27FC236}">
                <a16:creationId xmlns:a16="http://schemas.microsoft.com/office/drawing/2014/main" id="{9EC21924-C562-6A20-3560-ED5B8BFE431A}"/>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39" name="Google Shape;1800;p93">
            <a:extLst>
              <a:ext uri="{FF2B5EF4-FFF2-40B4-BE49-F238E27FC236}">
                <a16:creationId xmlns:a16="http://schemas.microsoft.com/office/drawing/2014/main" id="{3AE8FC83-84F4-AD93-3DA8-176A0E32392F}"/>
              </a:ext>
            </a:extLst>
          </p:cNvPr>
          <p:cNvSpPr/>
          <p:nvPr/>
        </p:nvSpPr>
        <p:spPr>
          <a:xfrm>
            <a:off x="7393300" y="1927275"/>
            <a:ext cx="360000" cy="360000"/>
          </a:xfrm>
          <a:custGeom>
            <a:avLst/>
            <a:gdLst/>
            <a:ahLst/>
            <a:cxnLst/>
            <a:rect l="l" t="t" r="r" b="b"/>
            <a:pathLst>
              <a:path w="459607" h="459296" extrusionOk="0">
                <a:moveTo>
                  <a:pt x="0" y="0"/>
                </a:moveTo>
                <a:lnTo>
                  <a:pt x="0" y="459297"/>
                </a:lnTo>
                <a:lnTo>
                  <a:pt x="459608" y="459297"/>
                </a:lnTo>
                <a:lnTo>
                  <a:pt x="459608" y="0"/>
                </a:lnTo>
                <a:close/>
                <a:moveTo>
                  <a:pt x="439883" y="439713"/>
                </a:moveTo>
                <a:lnTo>
                  <a:pt x="19598" y="439713"/>
                </a:lnTo>
                <a:lnTo>
                  <a:pt x="19598" y="19584"/>
                </a:lnTo>
                <a:lnTo>
                  <a:pt x="439883" y="19584"/>
                </a:lnTo>
                <a:close/>
                <a:moveTo>
                  <a:pt x="306118" y="61973"/>
                </a:moveTo>
                <a:lnTo>
                  <a:pt x="232421" y="141425"/>
                </a:lnTo>
                <a:lnTo>
                  <a:pt x="230889" y="142956"/>
                </a:lnTo>
                <a:lnTo>
                  <a:pt x="228846" y="140819"/>
                </a:lnTo>
                <a:lnTo>
                  <a:pt x="157384" y="61973"/>
                </a:lnTo>
                <a:lnTo>
                  <a:pt x="35333" y="189556"/>
                </a:lnTo>
                <a:lnTo>
                  <a:pt x="72005" y="189556"/>
                </a:lnTo>
                <a:lnTo>
                  <a:pt x="72005" y="407211"/>
                </a:lnTo>
                <a:lnTo>
                  <a:pt x="389167" y="407211"/>
                </a:lnTo>
                <a:lnTo>
                  <a:pt x="389167" y="189396"/>
                </a:lnTo>
                <a:lnTo>
                  <a:pt x="425520" y="189396"/>
                </a:lnTo>
                <a:close/>
                <a:moveTo>
                  <a:pt x="157224" y="89595"/>
                </a:moveTo>
                <a:lnTo>
                  <a:pt x="220740" y="160371"/>
                </a:lnTo>
                <a:lnTo>
                  <a:pt x="220740" y="248563"/>
                </a:lnTo>
                <a:lnTo>
                  <a:pt x="91507" y="248563"/>
                </a:lnTo>
                <a:lnTo>
                  <a:pt x="91507" y="173066"/>
                </a:lnTo>
                <a:lnTo>
                  <a:pt x="79474" y="173066"/>
                </a:lnTo>
                <a:close/>
                <a:moveTo>
                  <a:pt x="172385" y="386862"/>
                </a:moveTo>
                <a:lnTo>
                  <a:pt x="139638" y="386862"/>
                </a:lnTo>
                <a:lnTo>
                  <a:pt x="139638" y="318988"/>
                </a:lnTo>
                <a:lnTo>
                  <a:pt x="172385" y="318988"/>
                </a:lnTo>
                <a:close/>
                <a:moveTo>
                  <a:pt x="188791" y="387532"/>
                </a:moveTo>
                <a:lnTo>
                  <a:pt x="188791" y="302020"/>
                </a:lnTo>
                <a:lnTo>
                  <a:pt x="123583" y="302020"/>
                </a:lnTo>
                <a:lnTo>
                  <a:pt x="123583" y="387532"/>
                </a:lnTo>
                <a:lnTo>
                  <a:pt x="91507" y="387532"/>
                </a:lnTo>
                <a:lnTo>
                  <a:pt x="91507" y="268147"/>
                </a:lnTo>
                <a:lnTo>
                  <a:pt x="220740" y="268147"/>
                </a:lnTo>
                <a:lnTo>
                  <a:pt x="220740" y="387532"/>
                </a:lnTo>
                <a:close/>
                <a:moveTo>
                  <a:pt x="321119" y="386862"/>
                </a:moveTo>
                <a:lnTo>
                  <a:pt x="288404" y="386862"/>
                </a:lnTo>
                <a:lnTo>
                  <a:pt x="288404" y="318988"/>
                </a:lnTo>
                <a:lnTo>
                  <a:pt x="321119" y="318988"/>
                </a:lnTo>
                <a:close/>
                <a:moveTo>
                  <a:pt x="337556" y="387532"/>
                </a:moveTo>
                <a:lnTo>
                  <a:pt x="337556" y="302020"/>
                </a:lnTo>
                <a:lnTo>
                  <a:pt x="272318" y="302020"/>
                </a:lnTo>
                <a:lnTo>
                  <a:pt x="272318" y="387532"/>
                </a:lnTo>
                <a:lnTo>
                  <a:pt x="240401" y="387532"/>
                </a:lnTo>
                <a:lnTo>
                  <a:pt x="240401" y="268147"/>
                </a:lnTo>
                <a:lnTo>
                  <a:pt x="369665" y="268147"/>
                </a:lnTo>
                <a:lnTo>
                  <a:pt x="369665" y="387532"/>
                </a:lnTo>
                <a:close/>
                <a:moveTo>
                  <a:pt x="369474" y="173066"/>
                </a:moveTo>
                <a:lnTo>
                  <a:pt x="369474" y="248563"/>
                </a:lnTo>
                <a:lnTo>
                  <a:pt x="240401" y="248563"/>
                </a:lnTo>
                <a:lnTo>
                  <a:pt x="240401" y="160371"/>
                </a:lnTo>
                <a:lnTo>
                  <a:pt x="305831" y="89595"/>
                </a:lnTo>
                <a:lnTo>
                  <a:pt x="381890" y="173066"/>
                </a:lnTo>
                <a:close/>
                <a:moveTo>
                  <a:pt x="109923" y="174915"/>
                </a:moveTo>
                <a:lnTo>
                  <a:pt x="109923" y="234018"/>
                </a:lnTo>
                <a:lnTo>
                  <a:pt x="201844" y="234018"/>
                </a:lnTo>
                <a:lnTo>
                  <a:pt x="201844" y="174915"/>
                </a:lnTo>
                <a:close/>
                <a:moveTo>
                  <a:pt x="125882" y="190863"/>
                </a:moveTo>
                <a:lnTo>
                  <a:pt x="146245" y="190863"/>
                </a:lnTo>
                <a:lnTo>
                  <a:pt x="146245" y="218070"/>
                </a:lnTo>
                <a:lnTo>
                  <a:pt x="126009" y="218070"/>
                </a:lnTo>
                <a:close/>
                <a:moveTo>
                  <a:pt x="185886" y="218070"/>
                </a:moveTo>
                <a:lnTo>
                  <a:pt x="165651" y="218070"/>
                </a:lnTo>
                <a:lnTo>
                  <a:pt x="165651" y="190863"/>
                </a:lnTo>
                <a:lnTo>
                  <a:pt x="185886" y="190863"/>
                </a:lnTo>
                <a:close/>
                <a:moveTo>
                  <a:pt x="258913" y="174915"/>
                </a:moveTo>
                <a:lnTo>
                  <a:pt x="258913" y="234018"/>
                </a:lnTo>
                <a:lnTo>
                  <a:pt x="350866" y="234018"/>
                </a:lnTo>
                <a:lnTo>
                  <a:pt x="350866" y="174915"/>
                </a:lnTo>
                <a:close/>
                <a:moveTo>
                  <a:pt x="274871" y="190863"/>
                </a:moveTo>
                <a:lnTo>
                  <a:pt x="295106" y="190863"/>
                </a:lnTo>
                <a:lnTo>
                  <a:pt x="295106" y="218070"/>
                </a:lnTo>
                <a:lnTo>
                  <a:pt x="274871" y="218070"/>
                </a:lnTo>
                <a:close/>
                <a:moveTo>
                  <a:pt x="334908" y="218070"/>
                </a:moveTo>
                <a:lnTo>
                  <a:pt x="314640" y="218070"/>
                </a:lnTo>
                <a:lnTo>
                  <a:pt x="314640" y="190863"/>
                </a:lnTo>
                <a:lnTo>
                  <a:pt x="334908" y="190863"/>
                </a:lnTo>
                <a:close/>
              </a:path>
            </a:pathLst>
          </a:custGeom>
          <a:solidFill>
            <a:schemeClr val="bg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grpSp>
        <p:nvGrpSpPr>
          <p:cNvPr id="5" name="Group 4">
            <a:extLst>
              <a:ext uri="{FF2B5EF4-FFF2-40B4-BE49-F238E27FC236}">
                <a16:creationId xmlns:a16="http://schemas.microsoft.com/office/drawing/2014/main" id="{2B0776D4-709F-5126-B53F-DD2A3D7554C4}"/>
              </a:ext>
            </a:extLst>
          </p:cNvPr>
          <p:cNvGrpSpPr/>
          <p:nvPr/>
        </p:nvGrpSpPr>
        <p:grpSpPr>
          <a:xfrm>
            <a:off x="9641294" y="157007"/>
            <a:ext cx="2107794" cy="220267"/>
            <a:chOff x="9641294" y="157007"/>
            <a:chExt cx="2107794" cy="220267"/>
          </a:xfrm>
        </p:grpSpPr>
        <p:sp>
          <p:nvSpPr>
            <p:cNvPr id="6" name="Rectangle 5">
              <a:extLst>
                <a:ext uri="{FF2B5EF4-FFF2-40B4-BE49-F238E27FC236}">
                  <a16:creationId xmlns:a16="http://schemas.microsoft.com/office/drawing/2014/main" id="{58643D5D-50D6-722F-7C39-95C0EC0E39BE}"/>
                </a:ext>
              </a:extLst>
            </p:cNvPr>
            <p:cNvSpPr/>
            <p:nvPr/>
          </p:nvSpPr>
          <p:spPr>
            <a:xfrm>
              <a:off x="10366138" y="159786"/>
              <a:ext cx="138295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Individual resilience</a:t>
              </a:r>
              <a:endParaRPr kumimoji="0" lang="en-US"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102D4872-12A5-9DAF-0F99-3AE85C528EB3}"/>
                </a:ext>
              </a:extLst>
            </p:cNvPr>
            <p:cNvSpPr/>
            <p:nvPr/>
          </p:nvSpPr>
          <p:spPr>
            <a:xfrm>
              <a:off x="9882908" y="157007"/>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50280E0C-431C-9EA8-3C60-971ECF4AF06D}"/>
                </a:ext>
              </a:extLst>
            </p:cNvPr>
            <p:cNvSpPr/>
            <p:nvPr/>
          </p:nvSpPr>
          <p:spPr>
            <a:xfrm>
              <a:off x="9641294"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a:t>
              </a:r>
              <a:r>
                <a:rPr lang="en-gb" sz="800" b="1" kern="0">
                  <a:solidFill>
                    <a:srgbClr val="A4A3B2"/>
                  </a:solidFill>
                  <a:ea typeface="Georgia"/>
                  <a:cs typeface="Georgia"/>
                  <a:sym typeface="Georgia"/>
                </a:rPr>
                <a:t>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D9970498-30A0-3DCD-854E-0B7E4B6E8D54}"/>
                </a:ext>
              </a:extLst>
            </p:cNvPr>
            <p:cNvSpPr/>
            <p:nvPr/>
          </p:nvSpPr>
          <p:spPr>
            <a:xfrm>
              <a:off x="10124522"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6.3</a:t>
              </a:r>
              <a:endParaRPr kumimoji="0" lang="lv-LV" sz="800" b="1" i="0" u="none" strike="noStrike" kern="0" cap="none" spc="0" normalizeH="0" baseline="0">
                <a:ln>
                  <a:noFill/>
                </a:ln>
                <a:effectLst/>
                <a:uLnTx/>
                <a:uFillTx/>
                <a:ea typeface="Georgia"/>
                <a:cs typeface="Georgia"/>
                <a:sym typeface="Georgia"/>
              </a:endParaRPr>
            </a:p>
          </p:txBody>
        </p:sp>
      </p:grpSp>
    </p:spTree>
    <p:extLst>
      <p:ext uri="{BB962C8B-B14F-4D97-AF65-F5344CB8AC3E}">
        <p14:creationId xmlns:p14="http://schemas.microsoft.com/office/powerpoint/2010/main" val="31581596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Sources of information (1/2)</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5</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en-US" sz="900" b="0" dirty="0">
                <a:solidFill>
                  <a:schemeClr val="tx1"/>
                </a:solidFill>
                <a:ea typeface="Open Sans"/>
                <a:cs typeface="Open Sans"/>
              </a:rPr>
              <a:t>Images sourced from the website </a:t>
            </a:r>
            <a:r>
              <a:rPr lang="lv-LV" sz="900" b="0" dirty="0">
                <a:solidFill>
                  <a:schemeClr val="tx1"/>
                </a:solidFill>
                <a:ea typeface="Open Sans"/>
                <a:cs typeface="Open Sans"/>
              </a:rPr>
              <a:t>"</a:t>
            </a:r>
            <a:r>
              <a:rPr lang="en-US" sz="900" b="0" dirty="0" err="1">
                <a:solidFill>
                  <a:schemeClr val="tx1"/>
                </a:solidFill>
                <a:ea typeface="Open Sans"/>
                <a:cs typeface="Open Sans"/>
              </a:rPr>
              <a:t>Unsplash</a:t>
            </a:r>
            <a:r>
              <a:rPr lang="lv-LV" sz="900" b="0" dirty="0">
                <a:solidFill>
                  <a:schemeClr val="tx1"/>
                </a:solidFill>
                <a:ea typeface="Open Sans"/>
                <a:cs typeface="Open Sans"/>
              </a:rPr>
              <a:t>". </a:t>
            </a:r>
            <a:r>
              <a:rPr lang="lv-LV" sz="900" b="0" dirty="0">
                <a:solidFill>
                  <a:srgbClr val="A8192D"/>
                </a:solidFill>
                <a:ea typeface="Open Sans"/>
                <a:cs typeface="Open Sans"/>
              </a:rPr>
              <a:t>https://unsplash.com</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112. 2023. Biežāk uzdotie jautājumi par iedzīvotāju apziņošanu, rīcību militāra apdraudējuma gadījumā. </a:t>
            </a:r>
            <a:r>
              <a:rPr lang="lv-LV" sz="900" b="0" dirty="0">
                <a:solidFill>
                  <a:srgbClr val="A8192D"/>
                </a:solidFill>
                <a:ea typeface="Open Sans"/>
                <a:cs typeface="Open Sans"/>
              </a:rPr>
              <a:t>https://112.lv/lv/raksts/210</a:t>
            </a:r>
          </a:p>
          <a:p>
            <a:pPr marL="172800" indent="-172800">
              <a:spcBef>
                <a:spcPts val="300"/>
              </a:spcBef>
              <a:spcAft>
                <a:spcPts val="300"/>
              </a:spcAft>
              <a:buBlip>
                <a:blip r:embed="rId3"/>
              </a:buBlip>
            </a:pPr>
            <a:r>
              <a:rPr lang="lv-LV" sz="900" b="0" dirty="0">
                <a:solidFill>
                  <a:schemeClr val="tx1"/>
                </a:solidFill>
                <a:ea typeface="Open Sans"/>
                <a:cs typeface="Open Sans"/>
              </a:rPr>
              <a:t>112. Ceļu satiksmes negadījums. </a:t>
            </a:r>
            <a:r>
              <a:rPr lang="lv-LV" sz="900" b="0" dirty="0">
                <a:solidFill>
                  <a:srgbClr val="A8192D"/>
                </a:solidFill>
                <a:ea typeface="Open Sans"/>
                <a:cs typeface="Open Sans"/>
              </a:rPr>
              <a:t>https://112.lv/lv/riciba-apdraudejuma-situacija/kategorijas/23/celu-satiksmes-negadijums</a:t>
            </a:r>
          </a:p>
          <a:p>
            <a:pPr marL="172800" indent="-172800">
              <a:spcBef>
                <a:spcPts val="300"/>
              </a:spcBef>
              <a:spcAft>
                <a:spcPts val="300"/>
              </a:spcAft>
              <a:buBlip>
                <a:blip r:embed="rId3"/>
              </a:buBlip>
            </a:pPr>
            <a:r>
              <a:rPr lang="lv-LV" sz="900" b="0" dirty="0">
                <a:solidFill>
                  <a:schemeClr val="tx1"/>
                </a:solidFill>
                <a:ea typeface="Open Sans"/>
                <a:cs typeface="Open Sans"/>
              </a:rPr>
              <a:t>112. Elektrotīklu bojājumi. </a:t>
            </a:r>
            <a:r>
              <a:rPr lang="lv-LV" sz="900" b="0" dirty="0">
                <a:solidFill>
                  <a:srgbClr val="A8192D"/>
                </a:solidFill>
                <a:ea typeface="Open Sans"/>
                <a:cs typeface="Open Sans"/>
              </a:rPr>
              <a:t>https://112.lv/lv/raksts/67/elektrotiklu-bojajumi?objects_path=lv%2Fraksts%2F67%2Felektrotiklu-bojajumi</a:t>
            </a:r>
          </a:p>
          <a:p>
            <a:pPr marL="172800" indent="-172800">
              <a:spcBef>
                <a:spcPts val="300"/>
              </a:spcBef>
              <a:spcAft>
                <a:spcPts val="300"/>
              </a:spcAft>
              <a:buBlip>
                <a:blip r:embed="rId3"/>
              </a:buBlip>
            </a:pPr>
            <a:r>
              <a:rPr lang="lv-LV" sz="900" b="0" dirty="0">
                <a:solidFill>
                  <a:schemeClr val="tx1"/>
                </a:solidFill>
                <a:ea typeface="Open Sans"/>
                <a:cs typeface="Open Sans"/>
              </a:rPr>
              <a:t>112. Evakuācija. </a:t>
            </a:r>
            <a:r>
              <a:rPr lang="lv-LV" sz="900" b="0" dirty="0">
                <a:solidFill>
                  <a:srgbClr val="A8192D"/>
                </a:solidFill>
                <a:ea typeface="Open Sans"/>
                <a:cs typeface="Open Sans"/>
              </a:rPr>
              <a:t>https://112.lv/lv/raksts/192/evakuacija</a:t>
            </a:r>
          </a:p>
          <a:p>
            <a:pPr marL="172800" indent="-172800">
              <a:spcBef>
                <a:spcPts val="300"/>
              </a:spcBef>
              <a:spcAft>
                <a:spcPts val="300"/>
              </a:spcAft>
              <a:buBlip>
                <a:blip r:embed="rId3"/>
              </a:buBlip>
            </a:pPr>
            <a:r>
              <a:rPr lang="lv-LV" sz="900" b="0" dirty="0">
                <a:solidFill>
                  <a:schemeClr val="tx1"/>
                </a:solidFill>
                <a:ea typeface="Open Sans"/>
                <a:cs typeface="Open Sans"/>
              </a:rPr>
              <a:t>112. Evakuācija un ārkārtas gadījumu soma. </a:t>
            </a:r>
            <a:r>
              <a:rPr lang="lv-LV" sz="900" b="0" dirty="0">
                <a:solidFill>
                  <a:srgbClr val="A8192D"/>
                </a:solidFill>
                <a:ea typeface="Open Sans"/>
                <a:cs typeface="Open Sans"/>
              </a:rPr>
              <a:t>https://112.lv/lv/raksts/225/evakuacija-un-arkartas-gadijumu-soma?objects_path=lv%2Fraksts%2F225%2Fevakuacija-un-arkartas-gadijumu-soma</a:t>
            </a:r>
          </a:p>
          <a:p>
            <a:pPr marL="172800" indent="-172800">
              <a:spcBef>
                <a:spcPts val="300"/>
              </a:spcBef>
              <a:spcAft>
                <a:spcPts val="300"/>
              </a:spcAft>
              <a:buBlip>
                <a:blip r:embed="rId3"/>
              </a:buBlip>
            </a:pPr>
            <a:r>
              <a:rPr lang="lv-LV" sz="900" b="0" dirty="0">
                <a:solidFill>
                  <a:schemeClr val="tx1"/>
                </a:solidFill>
                <a:ea typeface="Open Sans"/>
                <a:cs typeface="Open Sans"/>
              </a:rPr>
              <a:t>Aizsardzības ministrija. 2024. Rokasgrāmata “Kā rīkoties kara gadījumā”. </a:t>
            </a:r>
            <a:r>
              <a:rPr lang="lv-LV" sz="900" b="0" dirty="0">
                <a:solidFill>
                  <a:srgbClr val="A8192D"/>
                </a:solidFill>
                <a:ea typeface="Open Sans"/>
                <a:cs typeface="Open Sans"/>
              </a:rPr>
              <a:t>https://static.lsm.lv/documents/1ym.pdf</a:t>
            </a: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chemeClr val="tx1"/>
                </a:solidFill>
                <a:ea typeface="Open Sans"/>
                <a:cs typeface="Open Sans"/>
              </a:rPr>
              <a:t>Jēkabpils </a:t>
            </a:r>
            <a:r>
              <a:rPr lang="lv-LV" sz="900" b="0" dirty="0" err="1">
                <a:solidFill>
                  <a:schemeClr val="tx1"/>
                </a:solidFill>
                <a:ea typeface="Open Sans"/>
                <a:cs typeface="Open Sans"/>
              </a:rPr>
              <a:t>County</a:t>
            </a:r>
            <a:r>
              <a:rPr lang="lv-LV" sz="900" b="0" dirty="0">
                <a:solidFill>
                  <a:schemeClr val="tx1"/>
                </a:solidFill>
                <a:ea typeface="Open Sans"/>
                <a:cs typeface="Open Sans"/>
              </a:rPr>
              <a:t> </a:t>
            </a:r>
            <a:r>
              <a:rPr lang="lv-LV" sz="900" b="0" dirty="0" err="1">
                <a:solidFill>
                  <a:schemeClr val="tx1"/>
                </a:solidFill>
                <a:ea typeface="Open Sans"/>
                <a:cs typeface="Open Sans"/>
              </a:rPr>
              <a:t>Municipality</a:t>
            </a:r>
            <a:r>
              <a:rPr lang="lv-LV" sz="900" b="0" dirty="0">
                <a:solidFill>
                  <a:schemeClr val="tx1"/>
                </a:solidFill>
                <a:ea typeface="Open Sans"/>
                <a:cs typeface="Open Sans"/>
              </a:rPr>
              <a:t>. Dokumentālā filma "Plūdi" (Jēkabpils, 2023. gads). </a:t>
            </a:r>
            <a:r>
              <a:rPr lang="lv-LV" sz="900" b="0" dirty="0">
                <a:solidFill>
                  <a:srgbClr val="A8192D"/>
                </a:solidFill>
                <a:ea typeface="Open Sans"/>
                <a:cs typeface="Open Sans"/>
              </a:rPr>
              <a:t>https://www.youtube.com/watch?v=ZJBtqAgrEZE</a:t>
            </a:r>
          </a:p>
          <a:p>
            <a:pPr marL="172800" indent="-172800">
              <a:spcBef>
                <a:spcPts val="300"/>
              </a:spcBef>
              <a:spcAft>
                <a:spcPts val="300"/>
              </a:spcAft>
              <a:buBlip>
                <a:blip r:embed="rId3"/>
              </a:buBlip>
            </a:pPr>
            <a:r>
              <a:rPr lang="lv-LV" sz="900" b="0" dirty="0">
                <a:solidFill>
                  <a:schemeClr val="tx1"/>
                </a:solidFill>
                <a:ea typeface="Open Sans"/>
                <a:cs typeface="Open Sans"/>
              </a:rPr>
              <a:t>LTV Ziņu dienests. 72. stundas. Evakuācija un pretošanās. </a:t>
            </a:r>
            <a:r>
              <a:rPr lang="lv-LV" sz="900" b="0" dirty="0">
                <a:solidFill>
                  <a:srgbClr val="A8192D"/>
                </a:solidFill>
                <a:ea typeface="Open Sans"/>
                <a:cs typeface="Open Sans"/>
              </a:rPr>
              <a:t>https://www.youtube.com/watch?v=EqTN-akzLIc</a:t>
            </a:r>
          </a:p>
          <a:p>
            <a:pPr marL="172800" indent="-172800">
              <a:spcBef>
                <a:spcPts val="300"/>
              </a:spcBef>
              <a:spcAft>
                <a:spcPts val="300"/>
              </a:spcAft>
              <a:buBlip>
                <a:blip r:embed="rId3"/>
              </a:buBlip>
            </a:pPr>
            <a:r>
              <a:rPr lang="lv-LV" sz="900" b="0" dirty="0">
                <a:solidFill>
                  <a:schemeClr val="tx1"/>
                </a:solidFill>
                <a:ea typeface="Open Sans"/>
                <a:cs typeface="Open Sans"/>
              </a:rPr>
              <a:t>LTV Ziņu dienests. Ogrē spridzina ledu. </a:t>
            </a:r>
            <a:r>
              <a:rPr lang="lv-LV" sz="900" b="0" dirty="0">
                <a:solidFill>
                  <a:srgbClr val="A8192D"/>
                </a:solidFill>
                <a:ea typeface="Open Sans"/>
                <a:cs typeface="Open Sans"/>
              </a:rPr>
              <a:t>https://www.youtube.com/watch?v=7fol0QqgihA</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0. augusta noteikumi Nr. 372 "Darba aizsardzības prasības, lietojot individuālos aizsardzības līdzekļus". </a:t>
            </a:r>
            <a:r>
              <a:rPr lang="lv-LV" sz="900" b="0" dirty="0">
                <a:solidFill>
                  <a:srgbClr val="A8192D"/>
                </a:solidFill>
                <a:ea typeface="Open Sans"/>
                <a:cs typeface="Open Sans"/>
              </a:rPr>
              <a:t>https://likumi.lv/ta/id/6561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1. maija noteikumi Nr. 189 "Darba aizsardzības prasības, saskaroties ar bioloģiskajām vielām". </a:t>
            </a:r>
            <a:r>
              <a:rPr lang="lv-LV" sz="900" b="0" dirty="0">
                <a:solidFill>
                  <a:srgbClr val="A8192D"/>
                </a:solidFill>
                <a:ea typeface="Open Sans"/>
                <a:cs typeface="Open Sans"/>
              </a:rPr>
              <a:t>https://likumi.lv/ta/id/62417</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26. jūnija rīkojums Nr. 414 "Par Radioaktīvo atkritumu glabāšanas koncepciju". </a:t>
            </a:r>
            <a:r>
              <a:rPr lang="lv-LV" sz="900" b="0" dirty="0">
                <a:solidFill>
                  <a:srgbClr val="A8192D"/>
                </a:solidFill>
                <a:ea typeface="Open Sans"/>
                <a:cs typeface="Open Sans"/>
              </a:rPr>
              <a:t>https://likumi.lv/ta/id/7676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3. gada 8. aprīļa noteikumi Nr. 152 "Prasības attiecībā uz sagatavotību radiācijas avārijai un rīcību šādas avārijas gadījumā". </a:t>
            </a:r>
            <a:r>
              <a:rPr lang="lv-LV" sz="900" b="0" dirty="0">
                <a:solidFill>
                  <a:srgbClr val="A8192D"/>
                </a:solidFill>
                <a:ea typeface="Open Sans"/>
                <a:cs typeface="Open Sans"/>
              </a:rPr>
              <a:t>https://likumi.lv/ta/id/73845</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4. gada 30. novembra rīkojums Nr. 958 "Par Salaspils kodolreaktora likvidēšanas un demontāžas koncepciju". </a:t>
            </a:r>
            <a:r>
              <a:rPr lang="lv-LV" sz="900" b="0" dirty="0">
                <a:solidFill>
                  <a:srgbClr val="A8192D"/>
                </a:solidFill>
                <a:ea typeface="Open Sans"/>
                <a:cs typeface="Open Sans"/>
              </a:rPr>
              <a:t>https://likumi.lv/ta/id/9744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3. gada 8. oktobra noteikumi Nr. 1041 "Noteikumi par obligāti piemērojamo </a:t>
            </a:r>
            <a:r>
              <a:rPr lang="lv-LV" sz="900" b="0" dirty="0" err="1">
                <a:solidFill>
                  <a:schemeClr val="tx1"/>
                </a:solidFill>
                <a:ea typeface="Open Sans"/>
                <a:cs typeface="Open Sans"/>
              </a:rPr>
              <a:t>energostandartu</a:t>
            </a:r>
            <a:r>
              <a:rPr lang="lv-LV" sz="900" b="0" dirty="0">
                <a:solidFill>
                  <a:schemeClr val="tx1"/>
                </a:solidFill>
                <a:ea typeface="Open Sans"/>
                <a:cs typeface="Open Sans"/>
              </a:rPr>
              <a:t>, kas nosaka elektroapgādes objektu ekspluatācijas organizatoriskās un tehniskās drošības prasības". </a:t>
            </a:r>
            <a:r>
              <a:rPr lang="lv-LV" sz="900" b="0" dirty="0">
                <a:solidFill>
                  <a:srgbClr val="A8192D"/>
                </a:solidFill>
                <a:ea typeface="Open Sans"/>
                <a:cs typeface="Open Sans"/>
              </a:rPr>
              <a:t>https://likumi.lv/ta/id/26076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4. gada 18. marta noteikumi Nr. 143 "Darba aizsardzības prasības, strādājot augstumā". </a:t>
            </a:r>
            <a:r>
              <a:rPr lang="lv-LV" sz="900" b="0" dirty="0">
                <a:solidFill>
                  <a:srgbClr val="A8192D"/>
                </a:solidFill>
                <a:ea typeface="Open Sans"/>
                <a:cs typeface="Open Sans"/>
              </a:rPr>
              <a:t>https://likumi.lv/ta/id/26512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5. gada 22. decembra noteikumi Nr. 746 "Noteikumi par kuģu, kuģošanas kompāniju, ostu un ostas iekārtu aizsardzības funkciju sadalījumu, izpildi un uzraudzību". </a:t>
            </a:r>
            <a:r>
              <a:rPr lang="lv-LV" sz="900" b="0" dirty="0">
                <a:solidFill>
                  <a:srgbClr val="A8192D"/>
                </a:solidFill>
                <a:ea typeface="Open Sans"/>
                <a:cs typeface="Open Sans"/>
              </a:rPr>
              <a:t>https://likumi.lv/ta/id/278913</a:t>
            </a:r>
          </a:p>
        </p:txBody>
      </p:sp>
    </p:spTree>
    <p:extLst>
      <p:ext uri="{BB962C8B-B14F-4D97-AF65-F5344CB8AC3E}">
        <p14:creationId xmlns:p14="http://schemas.microsoft.com/office/powerpoint/2010/main" val="33793166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Sources of information (2/2)</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6</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Ministru kabineta 2016. gada 1. marta noteikumi Nr. 131 "Rūpniecisko avāriju riska novērtēšanas kārtība un riska samazināšanas pasākumi". </a:t>
            </a:r>
            <a:r>
              <a:rPr lang="lv-LV" sz="900" b="0" dirty="0">
                <a:solidFill>
                  <a:srgbClr val="A8192D"/>
                </a:solidFill>
                <a:ea typeface="Open Sans"/>
                <a:cs typeface="Open Sans"/>
              </a:rPr>
              <a:t>https://likumi.lv/ta/id/280652</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6. gada 19. aprīļa noteikumi Nr. 238 "Ugunsdrošības noteikumi". </a:t>
            </a:r>
            <a:r>
              <a:rPr lang="lv-LV" sz="900" b="0" dirty="0">
                <a:solidFill>
                  <a:srgbClr val="A8192D"/>
                </a:solidFill>
                <a:ea typeface="Open Sans"/>
                <a:cs typeface="Open Sans"/>
              </a:rPr>
              <a:t>https://likumi.lv/ta/id/281646</a:t>
            </a:r>
            <a:endParaRPr lang="lv-LV" sz="900" b="0" dirty="0">
              <a:solidFill>
                <a:srgbClr val="000000"/>
              </a:solidFill>
              <a:ea typeface="Open Sans"/>
              <a:cs typeface="Open Sans"/>
            </a:endParaRP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17. gada 7. novembra noteikumi Nr. 658 "Noteikumi par civilās aizsardzības plānu struktūru un tajos iekļaujamo informāciju". </a:t>
            </a:r>
            <a:r>
              <a:rPr lang="lv-LV" sz="900" b="0" dirty="0">
                <a:solidFill>
                  <a:srgbClr val="A8192D"/>
                </a:solidFill>
                <a:ea typeface="Open Sans"/>
                <a:cs typeface="Open Sans"/>
              </a:rPr>
              <a:t>https://likumi.lv/ta/id/294938</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9. gada 18. jūnija noteikumi Nr. 268 "Valsts materiālo rezervju izmantošanas un pārbaudes kārtība". </a:t>
            </a:r>
            <a:r>
              <a:rPr lang="lv-LV" sz="900" b="0" dirty="0">
                <a:solidFill>
                  <a:srgbClr val="A8192D"/>
                </a:solidFill>
                <a:ea typeface="Open Sans"/>
                <a:cs typeface="Open Sans"/>
              </a:rPr>
              <a:t>https://likumi.lv/ta/id/30778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1. gada 1. aprīļa noteikumi Nr. 199 "Valsts uzraudzībā esošās dzīvnieku infekcijas slimības vai epizootijas uzliesmojuma laikā radušos zaudējumu kompensācijas noteikumi". </a:t>
            </a:r>
            <a:r>
              <a:rPr lang="lv-LV" sz="900" b="0" dirty="0">
                <a:solidFill>
                  <a:srgbClr val="A8192D"/>
                </a:solidFill>
                <a:ea typeface="Open Sans"/>
                <a:cs typeface="Open Sans"/>
              </a:rPr>
              <a:t>https://likumi.lv/ta/id/32216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2. gada 12. aprīļa noteikumi Nr. 230 "Valsts augu aizsardzības dienesta nolikums". </a:t>
            </a:r>
            <a:r>
              <a:rPr lang="lv-LV" sz="900" b="0" dirty="0">
                <a:solidFill>
                  <a:srgbClr val="A8192D"/>
                </a:solidFill>
                <a:ea typeface="Open Sans"/>
                <a:cs typeface="Open Sans"/>
              </a:rPr>
              <a:t>https://likumi.lv/ta/id/331660</a:t>
            </a:r>
          </a:p>
          <a:p>
            <a:pPr marL="172800" indent="-172800">
              <a:spcBef>
                <a:spcPts val="300"/>
              </a:spcBef>
              <a:spcAft>
                <a:spcPts val="300"/>
              </a:spcAft>
              <a:buBlip>
                <a:blip r:embed="rId3"/>
              </a:buBlip>
            </a:pPr>
            <a:r>
              <a:rPr lang="lv-LV" sz="900" b="0" dirty="0">
                <a:solidFill>
                  <a:schemeClr val="tx1"/>
                </a:solidFill>
                <a:ea typeface="Open Sans"/>
                <a:cs typeface="Open Sans"/>
              </a:rPr>
              <a:t>Neatliekamās medicīniskās palīdzības dienests. 2023. Rīcība ceļu satiksmes negadījumos. </a:t>
            </a:r>
            <a:r>
              <a:rPr lang="lv-LV" sz="900" b="0" dirty="0">
                <a:solidFill>
                  <a:srgbClr val="A8192D"/>
                </a:solidFill>
                <a:ea typeface="Open Sans"/>
                <a:cs typeface="Open Sans"/>
              </a:rPr>
              <a:t>https://www.nmpd.gov.lv/lv/riciba-celu-satiksmes-negadijumos</a:t>
            </a:r>
          </a:p>
          <a:p>
            <a:pPr marL="172800" indent="-172800">
              <a:spcBef>
                <a:spcPts val="300"/>
              </a:spcBef>
              <a:spcAft>
                <a:spcPts val="300"/>
              </a:spcAft>
              <a:buBlip>
                <a:blip r:embed="rId3"/>
              </a:buBlip>
            </a:pPr>
            <a:r>
              <a:rPr lang="lv-LV" sz="900" b="0" dirty="0">
                <a:solidFill>
                  <a:schemeClr val="tx1"/>
                </a:solidFill>
                <a:ea typeface="Open Sans"/>
                <a:cs typeface="Open Sans"/>
              </a:rPr>
              <a:t>Neatliekamās medicīniskās palīdzības dienests. 2024. Ārkārtas situācijas. </a:t>
            </a:r>
            <a:r>
              <a:rPr lang="lv-LV" sz="900" b="0" dirty="0">
                <a:solidFill>
                  <a:srgbClr val="A8192D"/>
                </a:solidFill>
                <a:ea typeface="Open Sans"/>
                <a:cs typeface="Open Sans"/>
              </a:rPr>
              <a:t>https://www.nmpd.gov.lv/lv/arkartas-situacijas</a:t>
            </a:r>
          </a:p>
          <a:p>
            <a:pPr marL="172800" indent="-172800">
              <a:spcBef>
                <a:spcPts val="300"/>
              </a:spcBef>
              <a:spcAft>
                <a:spcPts val="300"/>
              </a:spcAft>
              <a:buBlip>
                <a:blip r:embed="rId3"/>
              </a:buBlip>
            </a:pPr>
            <a:r>
              <a:rPr lang="lv-LV" sz="900" b="0" dirty="0">
                <a:solidFill>
                  <a:schemeClr val="tx1"/>
                </a:solidFill>
                <a:ea typeface="Open Sans"/>
                <a:cs typeface="Open Sans"/>
              </a:rPr>
              <a:t>Rīgas dome. 2024. Patvertnes vai vietas, kur patverties. </a:t>
            </a:r>
            <a:r>
              <a:rPr lang="lv-LV" sz="900" b="0" dirty="0">
                <a:solidFill>
                  <a:srgbClr val="A8192D"/>
                </a:solidFill>
                <a:ea typeface="Open Sans"/>
                <a:cs typeface="Open Sans"/>
              </a:rPr>
              <a:t>https://www.riga.lv/lv/situacija-patvertnu-jautajuma</a:t>
            </a:r>
          </a:p>
          <a:p>
            <a:pPr marL="172800" indent="-172800">
              <a:spcBef>
                <a:spcPts val="300"/>
              </a:spcBef>
              <a:spcAft>
                <a:spcPts val="300"/>
              </a:spcAft>
              <a:buBlip>
                <a:blip r:embed="rId3"/>
              </a:buBlip>
            </a:pPr>
            <a:r>
              <a:rPr lang="lv-LV" sz="900" b="0" dirty="0">
                <a:solidFill>
                  <a:schemeClr val="tx1"/>
                </a:solidFill>
                <a:ea typeface="Open Sans"/>
                <a:cs typeface="Open Sans"/>
              </a:rPr>
              <a:t>Sargs.lv. 2022. Nacionālie bruņotie spēki ir gatavībā sniegt atbalstu plūdu seku likvidēšanā. </a:t>
            </a:r>
            <a:r>
              <a:rPr lang="lv-LV" sz="900" b="0" dirty="0">
                <a:solidFill>
                  <a:srgbClr val="A8192D"/>
                </a:solidFill>
                <a:ea typeface="Open Sans"/>
                <a:cs typeface="Open Sans"/>
              </a:rPr>
              <a:t>https://www.sargs.lv/lv/nbs/2022-01-06/nacionalie-brunotie-speki-ir-gataviba-sniegt-atbalstu-pludu-seku-likvidesana</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2021. Plūdi. </a:t>
            </a:r>
            <a:r>
              <a:rPr lang="lv-LV" sz="900" b="0" dirty="0">
                <a:solidFill>
                  <a:srgbClr val="A8192D"/>
                </a:solidFill>
                <a:ea typeface="Open Sans"/>
                <a:cs typeface="Open Sans"/>
              </a:rPr>
              <a:t>https://www.vugd.gov.lv/lv/pludi</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2021. Stiprs vējš, negaiss. </a:t>
            </a:r>
            <a:r>
              <a:rPr lang="lv-LV" sz="900" b="0" dirty="0">
                <a:solidFill>
                  <a:srgbClr val="A8192D"/>
                </a:solidFill>
                <a:ea typeface="Open Sans"/>
                <a:cs typeface="Open Sans"/>
              </a:rPr>
              <a:t>https://www.vugd.gov.lv/lv/stiprs-vejs-negaiss</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2024. Vadlīnijas potenciālo patvertņu minimālajām tehniskajām prasībām. </a:t>
            </a:r>
            <a:r>
              <a:rPr lang="lv-LV" sz="900" b="0" dirty="0">
                <a:solidFill>
                  <a:srgbClr val="A8192D"/>
                </a:solidFill>
                <a:ea typeface="Open Sans"/>
                <a:cs typeface="Open Sans"/>
              </a:rPr>
              <a:t>https://www.vugd.gov.lv/lv/vadlinijas-potencialo-patvertnu-minimalajam-tehniskajam-prasibam</a:t>
            </a:r>
          </a:p>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Katastrofu riska novērtēšanas rekomendācijas. </a:t>
            </a:r>
            <a:r>
              <a:rPr lang="lv-LV" sz="900" b="0" dirty="0">
                <a:solidFill>
                  <a:srgbClr val="A8192D"/>
                </a:solidFill>
                <a:ea typeface="Open Sans"/>
                <a:cs typeface="Open Sans"/>
              </a:rPr>
              <a:t>https://www.vugd.gov.lv/lv/media/340/download</a:t>
            </a:r>
          </a:p>
          <a:p>
            <a:pPr marL="172800" indent="-172800">
              <a:spcBef>
                <a:spcPts val="300"/>
              </a:spcBef>
              <a:spcAft>
                <a:spcPts val="300"/>
              </a:spcAft>
              <a:buBlip>
                <a:blip r:embed="rId3"/>
              </a:buBlip>
            </a:pPr>
            <a:r>
              <a:rPr lang="lv-LV" sz="900" b="0" dirty="0">
                <a:solidFill>
                  <a:schemeClr val="tx1"/>
                </a:solidFill>
                <a:ea typeface="Open Sans"/>
                <a:cs typeface="Open Sans"/>
              </a:rPr>
              <a:t>VUGD. Kā rīkoties plūdu gadījumā? </a:t>
            </a:r>
            <a:r>
              <a:rPr lang="lv-LV" sz="900" b="0" dirty="0">
                <a:solidFill>
                  <a:srgbClr val="A8192D"/>
                </a:solidFill>
                <a:ea typeface="Open Sans"/>
                <a:cs typeface="Open Sans"/>
              </a:rPr>
              <a:t>https://www.youtube.com/watch?v=TqCewTZAWdU&amp;t=57s</a:t>
            </a:r>
          </a:p>
        </p:txBody>
      </p:sp>
    </p:spTree>
    <p:extLst>
      <p:ext uri="{BB962C8B-B14F-4D97-AF65-F5344CB8AC3E}">
        <p14:creationId xmlns:p14="http://schemas.microsoft.com/office/powerpoint/2010/main" val="1080075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A428F7A-C993-50D3-89F1-C22D21146271}"/>
              </a:ext>
            </a:extLst>
          </p:cNvPr>
          <p:cNvPicPr>
            <a:picLocks noChangeAspect="1"/>
          </p:cNvPicPr>
          <p:nvPr/>
        </p:nvPicPr>
        <p:blipFill rotWithShape="1">
          <a:blip r:embed="rId2"/>
          <a:srcRect l="1995" t="31331" r="7270" b="10121"/>
          <a:stretch/>
        </p:blipFill>
        <p:spPr>
          <a:xfrm>
            <a:off x="442913" y="3460253"/>
            <a:ext cx="5462587" cy="2643587"/>
          </a:xfrm>
          <a:prstGeom prst="rect">
            <a:avLst/>
          </a:prstGeom>
        </p:spPr>
      </p:pic>
      <p:pic>
        <p:nvPicPr>
          <p:cNvPr id="23" name="Picture 22">
            <a:extLst>
              <a:ext uri="{FF2B5EF4-FFF2-40B4-BE49-F238E27FC236}">
                <a16:creationId xmlns:a16="http://schemas.microsoft.com/office/drawing/2014/main" id="{2AAB2BE4-42F0-3706-C7BD-11E5246759F6}"/>
              </a:ext>
            </a:extLst>
          </p:cNvPr>
          <p:cNvPicPr>
            <a:picLocks noChangeAspect="1"/>
          </p:cNvPicPr>
          <p:nvPr/>
        </p:nvPicPr>
        <p:blipFill rotWithShape="1">
          <a:blip r:embed="rId3"/>
          <a:srcRect l="512" t="51947" r="1022" b="11378"/>
          <a:stretch/>
        </p:blipFill>
        <p:spPr>
          <a:xfrm>
            <a:off x="6286501" y="3460253"/>
            <a:ext cx="5462582" cy="2712742"/>
          </a:xfrm>
          <a:prstGeom prst="rect">
            <a:avLst/>
          </a:prstGeom>
        </p:spPr>
      </p:pic>
      <p:sp>
        <p:nvSpPr>
          <p:cNvPr id="11" name="Rectangle 10">
            <a:extLst>
              <a:ext uri="{FF2B5EF4-FFF2-40B4-BE49-F238E27FC236}">
                <a16:creationId xmlns:a16="http://schemas.microsoft.com/office/drawing/2014/main" id="{FA0DB7E4-5086-CBC3-A430-AECBB931AE3F}"/>
              </a:ext>
            </a:extLst>
          </p:cNvPr>
          <p:cNvSpPr/>
          <p:nvPr/>
        </p:nvSpPr>
        <p:spPr>
          <a:xfrm>
            <a:off x="442912" y="1821861"/>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12" name="Satura vietturis 2">
            <a:extLst>
              <a:ext uri="{FF2B5EF4-FFF2-40B4-BE49-F238E27FC236}">
                <a16:creationId xmlns:a16="http://schemas.microsoft.com/office/drawing/2014/main" id="{2B9CA849-0AC4-22D0-C79E-0B127C7E1E88}"/>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dirty="0">
                <a:solidFill>
                  <a:schemeClr val="tx1"/>
                </a:solidFill>
              </a:rPr>
              <a:t>Do </a:t>
            </a:r>
            <a:r>
              <a:rPr lang="lv-LV" sz="1600" dirty="0" err="1">
                <a:solidFill>
                  <a:schemeClr val="tx1"/>
                </a:solidFill>
              </a:rPr>
              <a:t>you</a:t>
            </a:r>
            <a:r>
              <a:rPr lang="lv-LV" sz="1600" dirty="0">
                <a:solidFill>
                  <a:schemeClr val="tx1"/>
                </a:solidFill>
              </a:rPr>
              <a:t> </a:t>
            </a:r>
            <a:r>
              <a:rPr lang="lv-LV" sz="1600" dirty="0" err="1">
                <a:solidFill>
                  <a:schemeClr val="tx1"/>
                </a:solidFill>
              </a:rPr>
              <a:t>know</a:t>
            </a:r>
            <a:r>
              <a:rPr lang="lv-LV" sz="1600" dirty="0">
                <a:solidFill>
                  <a:schemeClr val="tx1"/>
                </a:solidFill>
              </a:rPr>
              <a:t> </a:t>
            </a:r>
            <a:r>
              <a:rPr lang="en-gb" sz="1600" dirty="0">
                <a:solidFill>
                  <a:schemeClr val="tx1"/>
                </a:solidFill>
              </a:rPr>
              <a:t>what steps should be taken in the event of an emergency warning (e.g. floods, thunderstorms)?  </a:t>
            </a:r>
          </a:p>
        </p:txBody>
      </p:sp>
      <p:sp>
        <p:nvSpPr>
          <p:cNvPr id="13" name="Satura vietturis 2">
            <a:extLst>
              <a:ext uri="{FF2B5EF4-FFF2-40B4-BE49-F238E27FC236}">
                <a16:creationId xmlns:a16="http://schemas.microsoft.com/office/drawing/2014/main" id="{8FBA6CD9-C29A-DC34-2046-4B566CDE468F}"/>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600" dirty="0">
                <a:solidFill>
                  <a:schemeClr val="tx1"/>
                </a:solidFill>
              </a:rPr>
              <a:t>Do you know how to prepare your home for emergencies?</a:t>
            </a:r>
          </a:p>
        </p:txBody>
      </p:sp>
      <p:sp>
        <p:nvSpPr>
          <p:cNvPr id="14" name="Rectangle 13">
            <a:extLst>
              <a:ext uri="{FF2B5EF4-FFF2-40B4-BE49-F238E27FC236}">
                <a16:creationId xmlns:a16="http://schemas.microsoft.com/office/drawing/2014/main" id="{A15C462A-F4AD-2E9B-95A5-B333002BB906}"/>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18" name="Rectangle 17">
            <a:extLst>
              <a:ext uri="{FF2B5EF4-FFF2-40B4-BE49-F238E27FC236}">
                <a16:creationId xmlns:a16="http://schemas.microsoft.com/office/drawing/2014/main" id="{CE824709-874E-91CF-BC39-F76E24167153}"/>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9" name="Rectangle 18">
            <a:extLst>
              <a:ext uri="{FF2B5EF4-FFF2-40B4-BE49-F238E27FC236}">
                <a16:creationId xmlns:a16="http://schemas.microsoft.com/office/drawing/2014/main" id="{6F2E811E-0203-E42B-4247-E0F4A89A3CDA}"/>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 name="Title 18">
            <a:extLst>
              <a:ext uri="{FF2B5EF4-FFF2-40B4-BE49-F238E27FC236}">
                <a16:creationId xmlns:a16="http://schemas.microsoft.com/office/drawing/2014/main" id="{62191B8F-6AA7-8996-6DFE-41B6714A0793}"/>
              </a:ext>
            </a:extLst>
          </p:cNvPr>
          <p:cNvSpPr>
            <a:spLocks noGrp="1"/>
          </p:cNvSpPr>
          <p:nvPr>
            <p:ph type="title"/>
          </p:nvPr>
        </p:nvSpPr>
        <p:spPr>
          <a:xfrm>
            <a:off x="442913" y="432001"/>
            <a:ext cx="11306175" cy="1387274"/>
          </a:xfrm>
        </p:spPr>
        <p:txBody>
          <a:bodyPr vert="horz" rtlCol="0"/>
          <a:lstStyle/>
          <a:p>
            <a:pPr rtl="0"/>
            <a:r>
              <a:rPr lang="en-gb" noProof="0"/>
              <a:t>Introductory discussion with learners on emergency preparedness</a:t>
            </a:r>
          </a:p>
        </p:txBody>
      </p:sp>
      <p:sp>
        <p:nvSpPr>
          <p:cNvPr id="24" name="Google Shape;1024;p85">
            <a:extLst>
              <a:ext uri="{FF2B5EF4-FFF2-40B4-BE49-F238E27FC236}">
                <a16:creationId xmlns:a16="http://schemas.microsoft.com/office/drawing/2014/main" id="{C11F337B-D5AC-5AA8-540B-65C2AE0A4054}"/>
              </a:ext>
            </a:extLst>
          </p:cNvPr>
          <p:cNvSpPr/>
          <p:nvPr/>
        </p:nvSpPr>
        <p:spPr>
          <a:xfrm>
            <a:off x="556312" y="2387763"/>
            <a:ext cx="360000" cy="360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chemeClr val="bg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00;p85">
            <a:extLst>
              <a:ext uri="{FF2B5EF4-FFF2-40B4-BE49-F238E27FC236}">
                <a16:creationId xmlns:a16="http://schemas.microsoft.com/office/drawing/2014/main" id="{424776CB-9FB7-A616-CF95-BF0AD4261CB5}"/>
              </a:ext>
            </a:extLst>
          </p:cNvPr>
          <p:cNvSpPr/>
          <p:nvPr/>
        </p:nvSpPr>
        <p:spPr>
          <a:xfrm>
            <a:off x="6399901" y="2387763"/>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 name="Slide Number Placeholder 4">
            <a:extLst>
              <a:ext uri="{FF2B5EF4-FFF2-40B4-BE49-F238E27FC236}">
                <a16:creationId xmlns:a16="http://schemas.microsoft.com/office/drawing/2014/main" id="{8410E940-F17B-5726-12B9-4DF4D6D8C2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4</a:t>
            </a:fld>
            <a:endParaRPr lang="en-GB"/>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nector: Elbow 7">
            <a:extLst>
              <a:ext uri="{FF2B5EF4-FFF2-40B4-BE49-F238E27FC236}">
                <a16:creationId xmlns:a16="http://schemas.microsoft.com/office/drawing/2014/main" id="{2A5B4B87-A354-6B3E-9DB9-22F74AD5BB96}"/>
              </a:ext>
            </a:extLst>
          </p:cNvPr>
          <p:cNvCxnSpPr>
            <a:stCxn id="10" idx="2"/>
            <a:endCxn id="11" idx="0"/>
          </p:cNvCxnSpPr>
          <p:nvPr/>
        </p:nvCxnSpPr>
        <p:spPr>
          <a:xfrm rot="5400000">
            <a:off x="3621686" y="125638"/>
            <a:ext cx="195542" cy="475308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0" name="Connector: Elbow 19">
            <a:extLst>
              <a:ext uri="{FF2B5EF4-FFF2-40B4-BE49-F238E27FC236}">
                <a16:creationId xmlns:a16="http://schemas.microsoft.com/office/drawing/2014/main" id="{D18B4F60-5B17-5690-8087-22A883BB58A5}"/>
              </a:ext>
            </a:extLst>
          </p:cNvPr>
          <p:cNvCxnSpPr>
            <a:stCxn id="10" idx="2"/>
            <a:endCxn id="16" idx="0"/>
          </p:cNvCxnSpPr>
          <p:nvPr/>
        </p:nvCxnSpPr>
        <p:spPr>
          <a:xfrm rot="16200000" flipH="1">
            <a:off x="8374773" y="125638"/>
            <a:ext cx="195542" cy="475308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Connector: Elbow 24">
            <a:extLst>
              <a:ext uri="{FF2B5EF4-FFF2-40B4-BE49-F238E27FC236}">
                <a16:creationId xmlns:a16="http://schemas.microsoft.com/office/drawing/2014/main" id="{E65D8421-A167-A20C-C720-52A96D1EAA69}"/>
              </a:ext>
            </a:extLst>
          </p:cNvPr>
          <p:cNvCxnSpPr>
            <a:stCxn id="10" idx="2"/>
            <a:endCxn id="15" idx="0"/>
          </p:cNvCxnSpPr>
          <p:nvPr/>
        </p:nvCxnSpPr>
        <p:spPr>
          <a:xfrm rot="16200000" flipH="1">
            <a:off x="7424156" y="1076256"/>
            <a:ext cx="195542" cy="2851852"/>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Connector: Elbow 30">
            <a:extLst>
              <a:ext uri="{FF2B5EF4-FFF2-40B4-BE49-F238E27FC236}">
                <a16:creationId xmlns:a16="http://schemas.microsoft.com/office/drawing/2014/main" id="{43B84AF1-C63A-8178-0865-2C14FAB5AE38}"/>
              </a:ext>
            </a:extLst>
          </p:cNvPr>
          <p:cNvCxnSpPr>
            <a:stCxn id="10" idx="2"/>
            <a:endCxn id="12" idx="0"/>
          </p:cNvCxnSpPr>
          <p:nvPr/>
        </p:nvCxnSpPr>
        <p:spPr>
          <a:xfrm rot="5400000">
            <a:off x="4572304" y="1076256"/>
            <a:ext cx="195542" cy="2851853"/>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8" name="Connector: Elbow 37">
            <a:extLst>
              <a:ext uri="{FF2B5EF4-FFF2-40B4-BE49-F238E27FC236}">
                <a16:creationId xmlns:a16="http://schemas.microsoft.com/office/drawing/2014/main" id="{E7EA3359-9B2B-A0BE-7C7B-9024392953F7}"/>
              </a:ext>
            </a:extLst>
          </p:cNvPr>
          <p:cNvCxnSpPr>
            <a:stCxn id="10" idx="2"/>
            <a:endCxn id="13" idx="0"/>
          </p:cNvCxnSpPr>
          <p:nvPr/>
        </p:nvCxnSpPr>
        <p:spPr>
          <a:xfrm rot="5400000">
            <a:off x="5522921" y="2026873"/>
            <a:ext cx="195542" cy="95061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1" name="Connector: Elbow 40">
            <a:extLst>
              <a:ext uri="{FF2B5EF4-FFF2-40B4-BE49-F238E27FC236}">
                <a16:creationId xmlns:a16="http://schemas.microsoft.com/office/drawing/2014/main" id="{E941BDD3-0E19-BF12-852D-EE1EF47230C1}"/>
              </a:ext>
            </a:extLst>
          </p:cNvPr>
          <p:cNvCxnSpPr>
            <a:stCxn id="10" idx="2"/>
            <a:endCxn id="14" idx="0"/>
          </p:cNvCxnSpPr>
          <p:nvPr/>
        </p:nvCxnSpPr>
        <p:spPr>
          <a:xfrm rot="16200000" flipH="1">
            <a:off x="6473538" y="2026873"/>
            <a:ext cx="195542" cy="95061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34AC6855-5907-9E00-AD61-B7310F3BCDA4}"/>
              </a:ext>
            </a:extLst>
          </p:cNvPr>
          <p:cNvCxnSpPr>
            <a:stCxn id="11" idx="2"/>
            <a:endCxn id="18" idx="0"/>
          </p:cNvCxnSpPr>
          <p:nvPr/>
        </p:nvCxnSpPr>
        <p:spPr>
          <a:xfrm flipH="1">
            <a:off x="1342801" y="3031953"/>
            <a:ext cx="112" cy="78089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64AF8FA9-E4F8-6EFF-CEEA-4FCCE08988EA}"/>
              </a:ext>
            </a:extLst>
          </p:cNvPr>
          <p:cNvCxnSpPr>
            <a:stCxn id="12" idx="2"/>
            <a:endCxn id="30" idx="0"/>
          </p:cNvCxnSpPr>
          <p:nvPr/>
        </p:nvCxnSpPr>
        <p:spPr>
          <a:xfrm flipH="1">
            <a:off x="3244036" y="3031953"/>
            <a:ext cx="112" cy="174449"/>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5ABAD64B-9274-89CF-615B-EF305757E18B}"/>
              </a:ext>
            </a:extLst>
          </p:cNvPr>
          <p:cNvCxnSpPr>
            <a:stCxn id="13" idx="2"/>
            <a:endCxn id="23" idx="0"/>
          </p:cNvCxnSpPr>
          <p:nvPr/>
        </p:nvCxnSpPr>
        <p:spPr>
          <a:xfrm flipH="1">
            <a:off x="514527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41ECA2CD-32FC-2C08-3895-DBF1A179250E}"/>
              </a:ext>
            </a:extLst>
          </p:cNvPr>
          <p:cNvCxnSpPr>
            <a:stCxn id="14" idx="2"/>
            <a:endCxn id="37" idx="0"/>
          </p:cNvCxnSpPr>
          <p:nvPr/>
        </p:nvCxnSpPr>
        <p:spPr>
          <a:xfrm flipH="1">
            <a:off x="7046506" y="3031953"/>
            <a:ext cx="112" cy="270824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FEF0C8D5-9DE4-7D4A-8D7B-BAD82B86346C}"/>
              </a:ext>
            </a:extLst>
          </p:cNvPr>
          <p:cNvCxnSpPr>
            <a:stCxn id="15" idx="2"/>
            <a:endCxn id="28" idx="0"/>
          </p:cNvCxnSpPr>
          <p:nvPr/>
        </p:nvCxnSpPr>
        <p:spPr>
          <a:xfrm flipH="1">
            <a:off x="894774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p:txBody>
          <a:bodyPr vert="horz" rtlCol="0"/>
          <a:lstStyle/>
          <a:p>
            <a:pPr rtl="0"/>
            <a:r>
              <a:rPr lang="en-gb"/>
              <a:t>Categorisation of disasters according to cause</a:t>
            </a:r>
            <a:br>
              <a:rPr lang="lv-LV"/>
            </a:br>
            <a:r>
              <a:rPr lang="en-gb">
                <a:solidFill>
                  <a:srgbClr val="9D2235"/>
                </a:solidFill>
              </a:rPr>
              <a:t>Natural disasters</a:t>
            </a:r>
            <a:endParaRPr lang="en-GB">
              <a:solidFill>
                <a:srgbClr val="9D2235"/>
              </a:solidFill>
            </a:endParaRPr>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160710A-5D9D-DA69-9CD1-96C46E819FB8}"/>
              </a:ext>
            </a:extLst>
          </p:cNvPr>
          <p:cNvSpPr/>
          <p:nvPr/>
        </p:nvSpPr>
        <p:spPr>
          <a:xfrm>
            <a:off x="442913"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t>Natural disasters</a:t>
            </a:r>
            <a:endParaRPr lang="cs-CZ" sz="1600" b="1"/>
          </a:p>
        </p:txBody>
      </p:sp>
      <p:sp>
        <p:nvSpPr>
          <p:cNvPr id="11" name="Rectangle 10">
            <a:extLst>
              <a:ext uri="{FF2B5EF4-FFF2-40B4-BE49-F238E27FC236}">
                <a16:creationId xmlns:a16="http://schemas.microsoft.com/office/drawing/2014/main" id="{16541673-F5A0-7515-259C-A866EA54C4AE}"/>
              </a:ext>
            </a:extLst>
          </p:cNvPr>
          <p:cNvSpPr/>
          <p:nvPr/>
        </p:nvSpPr>
        <p:spPr>
          <a:xfrm>
            <a:off x="44291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Geophysical</a:t>
            </a:r>
            <a:endParaRPr lang="cs-CZ" sz="1400" b="1"/>
          </a:p>
        </p:txBody>
      </p:sp>
      <p:sp>
        <p:nvSpPr>
          <p:cNvPr id="12" name="Rectangle 11">
            <a:extLst>
              <a:ext uri="{FF2B5EF4-FFF2-40B4-BE49-F238E27FC236}">
                <a16:creationId xmlns:a16="http://schemas.microsoft.com/office/drawing/2014/main" id="{C00849EB-7BF8-70BB-7BD5-AE79C0A117A5}"/>
              </a:ext>
            </a:extLst>
          </p:cNvPr>
          <p:cNvSpPr/>
          <p:nvPr/>
        </p:nvSpPr>
        <p:spPr>
          <a:xfrm>
            <a:off x="234414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Hydrological</a:t>
            </a:r>
            <a:endParaRPr lang="cs-CZ" sz="1400" b="1"/>
          </a:p>
        </p:txBody>
      </p:sp>
      <p:sp>
        <p:nvSpPr>
          <p:cNvPr id="13" name="Rectangle 12">
            <a:extLst>
              <a:ext uri="{FF2B5EF4-FFF2-40B4-BE49-F238E27FC236}">
                <a16:creationId xmlns:a16="http://schemas.microsoft.com/office/drawing/2014/main" id="{E34959C7-6BA3-268F-55B8-C61631E7FD13}"/>
              </a:ext>
            </a:extLst>
          </p:cNvPr>
          <p:cNvSpPr/>
          <p:nvPr/>
        </p:nvSpPr>
        <p:spPr>
          <a:xfrm>
            <a:off x="424538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Meteorological</a:t>
            </a:r>
            <a:endParaRPr lang="cs-CZ" sz="1400" b="1"/>
          </a:p>
        </p:txBody>
      </p:sp>
      <p:sp>
        <p:nvSpPr>
          <p:cNvPr id="14" name="Rectangle 13">
            <a:extLst>
              <a:ext uri="{FF2B5EF4-FFF2-40B4-BE49-F238E27FC236}">
                <a16:creationId xmlns:a16="http://schemas.microsoft.com/office/drawing/2014/main" id="{32699325-ABE2-D041-6AED-ED3728421A54}"/>
              </a:ext>
            </a:extLst>
          </p:cNvPr>
          <p:cNvSpPr/>
          <p:nvPr/>
        </p:nvSpPr>
        <p:spPr>
          <a:xfrm>
            <a:off x="614661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Climatological</a:t>
            </a:r>
            <a:endParaRPr lang="cs-CZ" sz="1400" b="1"/>
          </a:p>
        </p:txBody>
      </p:sp>
      <p:sp>
        <p:nvSpPr>
          <p:cNvPr id="15" name="Rectangle 14">
            <a:extLst>
              <a:ext uri="{FF2B5EF4-FFF2-40B4-BE49-F238E27FC236}">
                <a16:creationId xmlns:a16="http://schemas.microsoft.com/office/drawing/2014/main" id="{F6A8A608-8EBD-839B-B840-3222384B9593}"/>
              </a:ext>
            </a:extLst>
          </p:cNvPr>
          <p:cNvSpPr/>
          <p:nvPr/>
        </p:nvSpPr>
        <p:spPr>
          <a:xfrm>
            <a:off x="804785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Organic</a:t>
            </a:r>
            <a:endParaRPr lang="cs-CZ" sz="1400" b="1"/>
          </a:p>
        </p:txBody>
      </p:sp>
      <p:sp>
        <p:nvSpPr>
          <p:cNvPr id="16" name="Rectangle 15">
            <a:extLst>
              <a:ext uri="{FF2B5EF4-FFF2-40B4-BE49-F238E27FC236}">
                <a16:creationId xmlns:a16="http://schemas.microsoft.com/office/drawing/2014/main" id="{CD4758FF-3CB2-91FA-F244-3E8D0F2F8C31}"/>
              </a:ext>
            </a:extLst>
          </p:cNvPr>
          <p:cNvSpPr/>
          <p:nvPr/>
        </p:nvSpPr>
        <p:spPr>
          <a:xfrm>
            <a:off x="9949088" y="2599953"/>
            <a:ext cx="1800000" cy="432000"/>
          </a:xfrm>
          <a:prstGeom prst="rect">
            <a:avLst/>
          </a:prstGeom>
          <a:solidFill>
            <a:srgbClr val="D0CFD7"/>
          </a:solidFill>
          <a:ln w="12700">
            <a:solidFill>
              <a:srgbClr val="6F8087"/>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Cosmic*</a:t>
            </a:r>
            <a:endParaRPr lang="cs-CZ" sz="1400" b="1"/>
          </a:p>
        </p:txBody>
      </p:sp>
      <p:sp>
        <p:nvSpPr>
          <p:cNvPr id="17" name="Rectangle 16">
            <a:extLst>
              <a:ext uri="{FF2B5EF4-FFF2-40B4-BE49-F238E27FC236}">
                <a16:creationId xmlns:a16="http://schemas.microsoft.com/office/drawing/2014/main" id="{E0F69C91-CB43-DA35-6381-80C49C47A6CD}"/>
              </a:ext>
            </a:extLst>
          </p:cNvPr>
          <p:cNvSpPr/>
          <p:nvPr/>
        </p:nvSpPr>
        <p:spPr>
          <a:xfrm>
            <a:off x="44268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Earthquakes</a:t>
            </a:r>
            <a:endParaRPr lang="en-US" sz="1400">
              <a:solidFill>
                <a:schemeClr val="tx1"/>
              </a:solidFill>
            </a:endParaRPr>
          </a:p>
        </p:txBody>
      </p:sp>
      <p:sp>
        <p:nvSpPr>
          <p:cNvPr id="18" name="Rectangle 17">
            <a:extLst>
              <a:ext uri="{FF2B5EF4-FFF2-40B4-BE49-F238E27FC236}">
                <a16:creationId xmlns:a16="http://schemas.microsoft.com/office/drawing/2014/main" id="{BF6A64EC-BC5C-FEF6-FED1-BBA289CB506C}"/>
              </a:ext>
            </a:extLst>
          </p:cNvPr>
          <p:cNvSpPr/>
          <p:nvPr/>
        </p:nvSpPr>
        <p:spPr>
          <a:xfrm>
            <a:off x="44268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Landslides</a:t>
            </a:r>
            <a:endParaRPr lang="en-US" sz="1400">
              <a:solidFill>
                <a:schemeClr val="tx1"/>
              </a:solidFill>
            </a:endParaRPr>
          </a:p>
        </p:txBody>
      </p:sp>
      <p:sp>
        <p:nvSpPr>
          <p:cNvPr id="21" name="Rectangle 20">
            <a:extLst>
              <a:ext uri="{FF2B5EF4-FFF2-40B4-BE49-F238E27FC236}">
                <a16:creationId xmlns:a16="http://schemas.microsoft.com/office/drawing/2014/main" id="{A83B97BA-1DFF-D418-E599-48D273ACB0E7}"/>
              </a:ext>
            </a:extLst>
          </p:cNvPr>
          <p:cNvSpPr/>
          <p:nvPr/>
        </p:nvSpPr>
        <p:spPr>
          <a:xfrm>
            <a:off x="424515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dirty="0">
                <a:solidFill>
                  <a:schemeClr val="tx1"/>
                </a:solidFill>
              </a:rPr>
              <a:t>Heavy rainfall, hail​</a:t>
            </a:r>
            <a:endParaRPr lang="cs-CZ" sz="1400" dirty="0">
              <a:solidFill>
                <a:schemeClr val="tx1"/>
              </a:solidFill>
            </a:endParaRPr>
          </a:p>
        </p:txBody>
      </p:sp>
      <p:sp>
        <p:nvSpPr>
          <p:cNvPr id="22" name="Rectangle 21">
            <a:extLst>
              <a:ext uri="{FF2B5EF4-FFF2-40B4-BE49-F238E27FC236}">
                <a16:creationId xmlns:a16="http://schemas.microsoft.com/office/drawing/2014/main" id="{AD8E31FA-3747-7F84-CF2B-8A563CD738EC}"/>
              </a:ext>
            </a:extLst>
          </p:cNvPr>
          <p:cNvSpPr/>
          <p:nvPr/>
        </p:nvSpPr>
        <p:spPr>
          <a:xfrm>
            <a:off x="424515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Snow drifts</a:t>
            </a:r>
            <a:endParaRPr lang="cs-CZ" sz="1400">
              <a:solidFill>
                <a:schemeClr val="tx1"/>
              </a:solidFill>
            </a:endParaRPr>
          </a:p>
        </p:txBody>
      </p:sp>
      <p:sp>
        <p:nvSpPr>
          <p:cNvPr id="23" name="Rectangle 22">
            <a:extLst>
              <a:ext uri="{FF2B5EF4-FFF2-40B4-BE49-F238E27FC236}">
                <a16:creationId xmlns:a16="http://schemas.microsoft.com/office/drawing/2014/main" id="{9B7E2143-ADE3-A002-B6C6-A0CB8CD86B3E}"/>
              </a:ext>
            </a:extLst>
          </p:cNvPr>
          <p:cNvSpPr/>
          <p:nvPr/>
        </p:nvSpPr>
        <p:spPr>
          <a:xfrm>
            <a:off x="424515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dirty="0">
                <a:solidFill>
                  <a:schemeClr val="tx1"/>
                </a:solidFill>
              </a:rPr>
              <a:t>Storms, </a:t>
            </a:r>
            <a:r>
              <a:rPr lang="en-GB" sz="1400" dirty="0">
                <a:solidFill>
                  <a:schemeClr val="tx1"/>
                </a:solidFill>
              </a:rPr>
              <a:t>whirlwinds</a:t>
            </a:r>
            <a:endParaRPr lang="cs-CZ" sz="1400" dirty="0">
              <a:solidFill>
                <a:schemeClr val="tx1"/>
              </a:solidFill>
            </a:endParaRPr>
          </a:p>
        </p:txBody>
      </p:sp>
      <p:sp>
        <p:nvSpPr>
          <p:cNvPr id="26" name="Rectangle 25">
            <a:extLst>
              <a:ext uri="{FF2B5EF4-FFF2-40B4-BE49-F238E27FC236}">
                <a16:creationId xmlns:a16="http://schemas.microsoft.com/office/drawing/2014/main" id="{A6B82315-CF28-1E23-A46B-CD17B7C6300B}"/>
              </a:ext>
            </a:extLst>
          </p:cNvPr>
          <p:cNvSpPr/>
          <p:nvPr/>
        </p:nvSpPr>
        <p:spPr>
          <a:xfrm>
            <a:off x="804762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Epidemics</a:t>
            </a:r>
            <a:endParaRPr lang="cs-CZ" sz="1400">
              <a:solidFill>
                <a:schemeClr val="tx1"/>
              </a:solidFill>
            </a:endParaRPr>
          </a:p>
        </p:txBody>
      </p:sp>
      <p:sp>
        <p:nvSpPr>
          <p:cNvPr id="27" name="Rectangle 26">
            <a:extLst>
              <a:ext uri="{FF2B5EF4-FFF2-40B4-BE49-F238E27FC236}">
                <a16:creationId xmlns:a16="http://schemas.microsoft.com/office/drawing/2014/main" id="{1AF412B4-DAB7-7B12-FABD-413771DE90B9}"/>
              </a:ext>
            </a:extLst>
          </p:cNvPr>
          <p:cNvSpPr/>
          <p:nvPr/>
        </p:nvSpPr>
        <p:spPr>
          <a:xfrm>
            <a:off x="804762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Epizootics</a:t>
            </a:r>
            <a:endParaRPr lang="cs-CZ" sz="1400">
              <a:solidFill>
                <a:schemeClr val="tx1"/>
              </a:solidFill>
            </a:endParaRPr>
          </a:p>
        </p:txBody>
      </p:sp>
      <p:sp>
        <p:nvSpPr>
          <p:cNvPr id="28" name="Rectangle 27">
            <a:extLst>
              <a:ext uri="{FF2B5EF4-FFF2-40B4-BE49-F238E27FC236}">
                <a16:creationId xmlns:a16="http://schemas.microsoft.com/office/drawing/2014/main" id="{7B958969-4482-9D1E-A32C-E58B9CA693ED}"/>
              </a:ext>
            </a:extLst>
          </p:cNvPr>
          <p:cNvSpPr/>
          <p:nvPr/>
        </p:nvSpPr>
        <p:spPr>
          <a:xfrm>
            <a:off x="804762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dirty="0" err="1">
                <a:solidFill>
                  <a:schemeClr val="tx1"/>
                </a:solidFill>
              </a:rPr>
              <a:t>Epiphytoties</a:t>
            </a:r>
            <a:r>
              <a:rPr lang="en-GB" sz="1400" dirty="0">
                <a:solidFill>
                  <a:schemeClr val="tx1"/>
                </a:solidFill>
              </a:rPr>
              <a:t>​</a:t>
            </a:r>
            <a:endParaRPr lang="cs-CZ" sz="1400" dirty="0">
              <a:solidFill>
                <a:schemeClr val="tx1"/>
              </a:solidFill>
            </a:endParaRPr>
          </a:p>
        </p:txBody>
      </p:sp>
      <p:sp>
        <p:nvSpPr>
          <p:cNvPr id="30" name="Rectangle 29">
            <a:extLst>
              <a:ext uri="{FF2B5EF4-FFF2-40B4-BE49-F238E27FC236}">
                <a16:creationId xmlns:a16="http://schemas.microsoft.com/office/drawing/2014/main" id="{E8FE2FA4-3123-3627-1348-F9E7DFC39274}"/>
              </a:ext>
            </a:extLst>
          </p:cNvPr>
          <p:cNvSpPr/>
          <p:nvPr/>
        </p:nvSpPr>
        <p:spPr>
          <a:xfrm>
            <a:off x="234392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Floods</a:t>
            </a:r>
            <a:endParaRPr lang="cs-CZ" sz="1400">
              <a:solidFill>
                <a:schemeClr val="tx1"/>
              </a:solidFill>
            </a:endParaRPr>
          </a:p>
        </p:txBody>
      </p:sp>
      <p:sp>
        <p:nvSpPr>
          <p:cNvPr id="33" name="Rectangle 32">
            <a:extLst>
              <a:ext uri="{FF2B5EF4-FFF2-40B4-BE49-F238E27FC236}">
                <a16:creationId xmlns:a16="http://schemas.microsoft.com/office/drawing/2014/main" id="{A70ACDC4-51BA-A7EF-9898-C947D39B0B1C}"/>
              </a:ext>
            </a:extLst>
          </p:cNvPr>
          <p:cNvSpPr/>
          <p:nvPr/>
        </p:nvSpPr>
        <p:spPr>
          <a:xfrm>
            <a:off x="6146393"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Icing</a:t>
            </a:r>
            <a:endParaRPr lang="cs-CZ" sz="1400">
              <a:solidFill>
                <a:schemeClr val="tx1"/>
              </a:solidFill>
            </a:endParaRPr>
          </a:p>
        </p:txBody>
      </p:sp>
      <p:sp>
        <p:nvSpPr>
          <p:cNvPr id="35" name="Rectangle 34">
            <a:extLst>
              <a:ext uri="{FF2B5EF4-FFF2-40B4-BE49-F238E27FC236}">
                <a16:creationId xmlns:a16="http://schemas.microsoft.com/office/drawing/2014/main" id="{C71EADC6-1011-659D-2852-B59A8D87A5E1}"/>
              </a:ext>
            </a:extLst>
          </p:cNvPr>
          <p:cNvSpPr/>
          <p:nvPr/>
        </p:nvSpPr>
        <p:spPr>
          <a:xfrm>
            <a:off x="6146393"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Drought</a:t>
            </a:r>
            <a:endParaRPr lang="cs-CZ" sz="1400">
              <a:solidFill>
                <a:schemeClr val="tx1"/>
              </a:solidFill>
            </a:endParaRPr>
          </a:p>
        </p:txBody>
      </p:sp>
      <p:sp>
        <p:nvSpPr>
          <p:cNvPr id="36" name="Rectangle 35">
            <a:extLst>
              <a:ext uri="{FF2B5EF4-FFF2-40B4-BE49-F238E27FC236}">
                <a16:creationId xmlns:a16="http://schemas.microsoft.com/office/drawing/2014/main" id="{F89196AB-4FF3-4A10-3162-92713233FEE4}"/>
              </a:ext>
            </a:extLst>
          </p:cNvPr>
          <p:cNvSpPr/>
          <p:nvPr/>
        </p:nvSpPr>
        <p:spPr>
          <a:xfrm>
            <a:off x="6146393" y="5025749"/>
            <a:ext cx="1800225" cy="54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US" sz="1400" dirty="0">
                <a:solidFill>
                  <a:schemeClr val="tx1"/>
                </a:solidFill>
              </a:rPr>
              <a:t>Fires in forests and peat bogs​</a:t>
            </a:r>
            <a:endParaRPr lang="cs-CZ" sz="1400" dirty="0">
              <a:solidFill>
                <a:schemeClr val="tx1"/>
              </a:solidFill>
            </a:endParaRPr>
          </a:p>
        </p:txBody>
      </p:sp>
      <p:sp>
        <p:nvSpPr>
          <p:cNvPr id="37" name="Rectangle 36">
            <a:extLst>
              <a:ext uri="{FF2B5EF4-FFF2-40B4-BE49-F238E27FC236}">
                <a16:creationId xmlns:a16="http://schemas.microsoft.com/office/drawing/2014/main" id="{F8467154-1858-7042-ADE2-7AED8396B0AF}"/>
              </a:ext>
            </a:extLst>
          </p:cNvPr>
          <p:cNvSpPr/>
          <p:nvPr/>
        </p:nvSpPr>
        <p:spPr>
          <a:xfrm>
            <a:off x="6146393" y="5740198"/>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Heat</a:t>
            </a:r>
            <a:endParaRPr lang="cs-CZ" sz="1400">
              <a:solidFill>
                <a:schemeClr val="tx1"/>
              </a:solidFill>
            </a:endParaRPr>
          </a:p>
        </p:txBody>
      </p:sp>
      <p:sp>
        <p:nvSpPr>
          <p:cNvPr id="32" name="Rectangle 31">
            <a:extLst>
              <a:ext uri="{FF2B5EF4-FFF2-40B4-BE49-F238E27FC236}">
                <a16:creationId xmlns:a16="http://schemas.microsoft.com/office/drawing/2014/main" id="{8ABFBFDC-CA0E-4731-3A1F-4825867FD4CF}"/>
              </a:ext>
            </a:extLst>
          </p:cNvPr>
          <p:cNvSpPr/>
          <p:nvPr/>
        </p:nvSpPr>
        <p:spPr>
          <a:xfrm>
            <a:off x="614639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dirty="0">
                <a:solidFill>
                  <a:schemeClr val="tx1"/>
                </a:solidFill>
              </a:rPr>
              <a:t>Intense cold, snow​</a:t>
            </a:r>
            <a:endParaRPr lang="cs-CZ" sz="1400" dirty="0">
              <a:solidFill>
                <a:schemeClr val="tx1"/>
              </a:solidFill>
            </a:endParaRPr>
          </a:p>
        </p:txBody>
      </p:sp>
      <p:sp>
        <p:nvSpPr>
          <p:cNvPr id="3" name="TextBox 2">
            <a:extLst>
              <a:ext uri="{FF2B5EF4-FFF2-40B4-BE49-F238E27FC236}">
                <a16:creationId xmlns:a16="http://schemas.microsoft.com/office/drawing/2014/main" id="{9C6D97C2-F236-452B-18FC-09F24D1CEA02}"/>
              </a:ext>
            </a:extLst>
          </p:cNvPr>
          <p:cNvSpPr txBox="1"/>
          <p:nvPr/>
        </p:nvSpPr>
        <p:spPr>
          <a:xfrm>
            <a:off x="442688" y="6322963"/>
            <a:ext cx="11057709" cy="169277"/>
          </a:xfrm>
          <a:prstGeom prst="rect">
            <a:avLst/>
          </a:prstGeom>
          <a:noFill/>
        </p:spPr>
        <p:txBody>
          <a:bodyPr wrap="square" lIns="0" tIns="0" rIns="0" bIns="0" rtlCol="0">
            <a:spAutoFit/>
          </a:bodyPr>
          <a:lstStyle/>
          <a:p>
            <a:pPr rtl="0">
              <a:lnSpc>
                <a:spcPct val="100000"/>
              </a:lnSpc>
              <a:spcAft>
                <a:spcPts val="600"/>
              </a:spcAft>
              <a:buSzPct val="100000"/>
            </a:pPr>
            <a:r>
              <a:rPr lang="en-gb" sz="1100" dirty="0">
                <a:solidFill>
                  <a:srgbClr val="525A72"/>
                </a:solidFill>
              </a:rPr>
              <a:t>*The National Civil Protection Plan does not include </a:t>
            </a:r>
            <a:r>
              <a:rPr lang="lv-LV" sz="1100" dirty="0" err="1">
                <a:solidFill>
                  <a:srgbClr val="525A72"/>
                </a:solidFill>
              </a:rPr>
              <a:t>cosmic</a:t>
            </a:r>
            <a:r>
              <a:rPr lang="en-gb" sz="1100" dirty="0">
                <a:solidFill>
                  <a:srgbClr val="525A72"/>
                </a:solidFill>
              </a:rPr>
              <a:t> disasters</a:t>
            </a:r>
          </a:p>
        </p:txBody>
      </p:sp>
      <p:sp>
        <p:nvSpPr>
          <p:cNvPr id="19" name="Rectangle 18">
            <a:extLst>
              <a:ext uri="{FF2B5EF4-FFF2-40B4-BE49-F238E27FC236}">
                <a16:creationId xmlns:a16="http://schemas.microsoft.com/office/drawing/2014/main" id="{6D93C598-4DC4-6294-0F5A-C6C4CCAD941D}"/>
              </a:ext>
            </a:extLst>
          </p:cNvPr>
          <p:cNvSpPr/>
          <p:nvPr/>
        </p:nvSpPr>
        <p:spPr>
          <a:xfrm>
            <a:off x="442688" y="5685709"/>
            <a:ext cx="2371407"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US" sz="1200" dirty="0">
                <a:solidFill>
                  <a:schemeClr val="tx1"/>
                </a:solidFill>
                <a:hlinkClick r:id="rId3">
                  <a:extLst>
                    <a:ext uri="{A12FA001-AC4F-418D-AE19-62706E023703}">
                      <ahyp:hlinkClr xmlns:ahyp="http://schemas.microsoft.com/office/drawing/2018/hyperlinkcolor" val="tx"/>
                    </a:ext>
                  </a:extLst>
                </a:hlinkClick>
              </a:rPr>
              <a:t>Civil Protection and Disaster Management Law​</a:t>
            </a:r>
            <a:endParaRPr lang="lv-LV" sz="1200" dirty="0">
              <a:solidFill>
                <a:schemeClr val="tx1"/>
              </a:solidFill>
            </a:endParaRPr>
          </a:p>
        </p:txBody>
      </p:sp>
      <p:sp>
        <p:nvSpPr>
          <p:cNvPr id="24" name="Freeform 50">
            <a:extLst>
              <a:ext uri="{FF2B5EF4-FFF2-40B4-BE49-F238E27FC236}">
                <a16:creationId xmlns:a16="http://schemas.microsoft.com/office/drawing/2014/main" id="{8FD7ACE0-51A3-AE13-E269-1CD8F54FFF5D}"/>
              </a:ext>
            </a:extLst>
          </p:cNvPr>
          <p:cNvSpPr>
            <a:spLocks noChangeAspect="1"/>
          </p:cNvSpPr>
          <p:nvPr/>
        </p:nvSpPr>
        <p:spPr bwMode="auto">
          <a:xfrm>
            <a:off x="552574" y="586183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spTree>
    <p:extLst>
      <p:ext uri="{BB962C8B-B14F-4D97-AF65-F5344CB8AC3E}">
        <p14:creationId xmlns:p14="http://schemas.microsoft.com/office/powerpoint/2010/main" val="3636101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8D028A7C-4D1D-B8D0-33B0-2F6B65307001}"/>
              </a:ext>
            </a:extLst>
          </p:cNvPr>
          <p:cNvCxnSpPr>
            <a:cxnSpLocks/>
            <a:stCxn id="16" idx="2"/>
            <a:endCxn id="34" idx="0"/>
          </p:cNvCxnSpPr>
          <p:nvPr/>
        </p:nvCxnSpPr>
        <p:spPr>
          <a:xfrm>
            <a:off x="6993732" y="3078220"/>
            <a:ext cx="17144" cy="280598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75" name="Rectangle 2074">
            <a:extLst>
              <a:ext uri="{FF2B5EF4-FFF2-40B4-BE49-F238E27FC236}">
                <a16:creationId xmlns:a16="http://schemas.microsoft.com/office/drawing/2014/main" id="{E137241E-4C0E-D775-79D3-0F56683C045F}"/>
              </a:ext>
            </a:extLst>
          </p:cNvPr>
          <p:cNvSpPr/>
          <p:nvPr/>
        </p:nvSpPr>
        <p:spPr>
          <a:xfrm>
            <a:off x="5680233" y="2224411"/>
            <a:ext cx="412592" cy="180000"/>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5" name="Rectangle 14">
            <a:extLst>
              <a:ext uri="{FF2B5EF4-FFF2-40B4-BE49-F238E27FC236}">
                <a16:creationId xmlns:a16="http://schemas.microsoft.com/office/drawing/2014/main" id="{9D84DE5B-F5D7-A893-16BE-B21220BE434D}"/>
              </a:ext>
            </a:extLst>
          </p:cNvPr>
          <p:cNvSpPr/>
          <p:nvPr/>
        </p:nvSpPr>
        <p:spPr>
          <a:xfrm>
            <a:off x="441325"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t>Anthropogenic or man-made disasters</a:t>
            </a:r>
            <a:endParaRPr lang="cs-CZ" sz="1600" b="1"/>
          </a:p>
        </p:txBody>
      </p: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a:xfrm>
            <a:off x="442913" y="432001"/>
            <a:ext cx="11306175" cy="1387274"/>
          </a:xfrm>
        </p:spPr>
        <p:txBody>
          <a:bodyPr vert="horz" rtlCol="0"/>
          <a:lstStyle/>
          <a:p>
            <a:pPr rtl="0"/>
            <a:r>
              <a:rPr lang="en-gb"/>
              <a:t>Categorisation of disasters according to cause</a:t>
            </a:r>
            <a:br>
              <a:rPr lang="lv-LV"/>
            </a:br>
            <a:r>
              <a:rPr lang="en-gb">
                <a:solidFill>
                  <a:srgbClr val="9D2235"/>
                </a:solidFill>
              </a:rPr>
              <a:t>Anthropogenic or man-made disasters</a:t>
            </a:r>
            <a:br>
              <a:rPr lang="lv-LV">
                <a:solidFill>
                  <a:srgbClr val="9D2235"/>
                </a:solidFill>
              </a:rPr>
            </a:br>
            <a:endParaRPr lang="en-GB"/>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a:xfrm>
            <a:off x="9984296" y="6492240"/>
            <a:ext cx="1764792" cy="137160"/>
          </a:xfrm>
        </p:spPr>
        <p:txBody>
          <a:bodyPr rtlCol="0"/>
          <a:lstStyle/>
          <a:p>
            <a:pPr lvl="0" rtl="0"/>
            <a:fld id="{7870704B-CE94-48CC-AF30-84932A1262A7}" type="slidenum">
              <a:rPr lang="en-GB" noProof="0" smtClean="0"/>
              <a:pPr lvl="0"/>
              <a:t>6</a:t>
            </a:fld>
            <a:endParaRPr lang="en-GB" noProof="0"/>
          </a:p>
        </p:txBody>
      </p:sp>
      <p:sp>
        <p:nvSpPr>
          <p:cNvPr id="16" name="Rectangle 15">
            <a:extLst>
              <a:ext uri="{FF2B5EF4-FFF2-40B4-BE49-F238E27FC236}">
                <a16:creationId xmlns:a16="http://schemas.microsoft.com/office/drawing/2014/main" id="{8BEAEAF0-8F60-496D-E8E0-6834F6B83B23}"/>
              </a:ext>
            </a:extLst>
          </p:cNvPr>
          <p:cNvSpPr/>
          <p:nvPr/>
        </p:nvSpPr>
        <p:spPr>
          <a:xfrm>
            <a:off x="5228432" y="2646220"/>
            <a:ext cx="35306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t>Technogenic disasters</a:t>
            </a:r>
            <a:endParaRPr lang="cs-CZ" sz="1200" b="1"/>
          </a:p>
        </p:txBody>
      </p:sp>
      <p:sp>
        <p:nvSpPr>
          <p:cNvPr id="17" name="Rectangle 16">
            <a:extLst>
              <a:ext uri="{FF2B5EF4-FFF2-40B4-BE49-F238E27FC236}">
                <a16:creationId xmlns:a16="http://schemas.microsoft.com/office/drawing/2014/main" id="{B1F2C88E-5233-4E2E-BB0B-A705ECD84F7F}"/>
              </a:ext>
            </a:extLst>
          </p:cNvPr>
          <p:cNvSpPr/>
          <p:nvPr/>
        </p:nvSpPr>
        <p:spPr>
          <a:xfrm>
            <a:off x="5228432" y="3221931"/>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dirty="0">
                <a:solidFill>
                  <a:schemeClr val="tx1"/>
                </a:solidFill>
              </a:rPr>
              <a:t>Release of substances​</a:t>
            </a:r>
            <a:endParaRPr lang="cs-CZ" sz="1200" b="1" dirty="0">
              <a:solidFill>
                <a:schemeClr val="tx1"/>
              </a:solidFill>
            </a:endParaRPr>
          </a:p>
        </p:txBody>
      </p:sp>
      <p:sp>
        <p:nvSpPr>
          <p:cNvPr id="18" name="Rectangle 17">
            <a:extLst>
              <a:ext uri="{FF2B5EF4-FFF2-40B4-BE49-F238E27FC236}">
                <a16:creationId xmlns:a16="http://schemas.microsoft.com/office/drawing/2014/main" id="{B1E38AD3-53EF-E3D7-A0C0-A923AA02B1EF}"/>
              </a:ext>
            </a:extLst>
          </p:cNvPr>
          <p:cNvSpPr/>
          <p:nvPr/>
        </p:nvSpPr>
        <p:spPr>
          <a:xfrm>
            <a:off x="5228432" y="3653642"/>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Fires in buildings and structures</a:t>
            </a:r>
            <a:endParaRPr lang="cs-CZ" sz="1200" b="1">
              <a:solidFill>
                <a:schemeClr val="tx1"/>
              </a:solidFill>
            </a:endParaRPr>
          </a:p>
        </p:txBody>
      </p:sp>
      <p:sp>
        <p:nvSpPr>
          <p:cNvPr id="19" name="Rectangle 18">
            <a:extLst>
              <a:ext uri="{FF2B5EF4-FFF2-40B4-BE49-F238E27FC236}">
                <a16:creationId xmlns:a16="http://schemas.microsoft.com/office/drawing/2014/main" id="{B4BAF7E5-CAC7-8245-AD27-2C38EBEC645E}"/>
              </a:ext>
            </a:extLst>
          </p:cNvPr>
          <p:cNvSpPr/>
          <p:nvPr/>
        </p:nvSpPr>
        <p:spPr>
          <a:xfrm>
            <a:off x="5228432" y="4085353"/>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Collapse of buildings and structures</a:t>
            </a:r>
            <a:endParaRPr lang="cs-CZ" sz="1200" b="1">
              <a:solidFill>
                <a:schemeClr val="tx1"/>
              </a:solidFill>
            </a:endParaRPr>
          </a:p>
        </p:txBody>
      </p:sp>
      <p:sp>
        <p:nvSpPr>
          <p:cNvPr id="20" name="Rectangle 19">
            <a:extLst>
              <a:ext uri="{FF2B5EF4-FFF2-40B4-BE49-F238E27FC236}">
                <a16:creationId xmlns:a16="http://schemas.microsoft.com/office/drawing/2014/main" id="{42982202-AE46-7EC9-E702-D53319A8A2B2}"/>
              </a:ext>
            </a:extLst>
          </p:cNvPr>
          <p:cNvSpPr/>
          <p:nvPr/>
        </p:nvSpPr>
        <p:spPr>
          <a:xfrm>
            <a:off x="5228432" y="4517064"/>
            <a:ext cx="3530600"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Dams and other hydraulic structures </a:t>
            </a:r>
            <a:endParaRPr lang="en-US" sz="1200" b="1">
              <a:solidFill>
                <a:schemeClr val="tx1"/>
              </a:solidFill>
            </a:endParaRPr>
          </a:p>
          <a:p>
            <a:pPr algn="ctr" rtl="0">
              <a:lnSpc>
                <a:spcPct val="100000"/>
              </a:lnSpc>
            </a:pPr>
            <a:r>
              <a:rPr lang="en-gb" sz="1200" b="1">
                <a:solidFill>
                  <a:schemeClr val="tx1"/>
                </a:solidFill>
              </a:rPr>
              <a:t>rupture of structures</a:t>
            </a:r>
            <a:endParaRPr lang="cs-CZ" sz="1200" b="1">
              <a:solidFill>
                <a:schemeClr val="tx1"/>
              </a:solidFill>
            </a:endParaRPr>
          </a:p>
        </p:txBody>
      </p:sp>
      <p:sp>
        <p:nvSpPr>
          <p:cNvPr id="21" name="Rectangle 20">
            <a:extLst>
              <a:ext uri="{FF2B5EF4-FFF2-40B4-BE49-F238E27FC236}">
                <a16:creationId xmlns:a16="http://schemas.microsoft.com/office/drawing/2014/main" id="{CD97BD02-F15B-8B90-B835-44164E7DED49}"/>
              </a:ext>
            </a:extLst>
          </p:cNvPr>
          <p:cNvSpPr/>
          <p:nvPr/>
        </p:nvSpPr>
        <p:spPr>
          <a:xfrm>
            <a:off x="5228432" y="5020775"/>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Damage to electricity networks</a:t>
            </a:r>
            <a:endParaRPr lang="cs-CZ" sz="1200" b="1">
              <a:solidFill>
                <a:schemeClr val="tx1"/>
              </a:solidFill>
            </a:endParaRPr>
          </a:p>
        </p:txBody>
      </p:sp>
      <p:sp>
        <p:nvSpPr>
          <p:cNvPr id="22" name="Rectangle 21">
            <a:extLst>
              <a:ext uri="{FF2B5EF4-FFF2-40B4-BE49-F238E27FC236}">
                <a16:creationId xmlns:a16="http://schemas.microsoft.com/office/drawing/2014/main" id="{0AE5A568-9660-918E-35CF-7E5606DC17A7}"/>
              </a:ext>
            </a:extLst>
          </p:cNvPr>
          <p:cNvSpPr/>
          <p:nvPr/>
        </p:nvSpPr>
        <p:spPr>
          <a:xfrm>
            <a:off x="5228432" y="5452486"/>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Utilities emergencies</a:t>
            </a:r>
            <a:endParaRPr lang="cs-CZ" sz="1200" b="1">
              <a:solidFill>
                <a:schemeClr val="tx1"/>
              </a:solidFill>
            </a:endParaRPr>
          </a:p>
        </p:txBody>
      </p:sp>
      <p:sp>
        <p:nvSpPr>
          <p:cNvPr id="23" name="Rectangle 22">
            <a:extLst>
              <a:ext uri="{FF2B5EF4-FFF2-40B4-BE49-F238E27FC236}">
                <a16:creationId xmlns:a16="http://schemas.microsoft.com/office/drawing/2014/main" id="{49DD505E-001C-3EE5-70FA-4E70E3127E7F}"/>
              </a:ext>
            </a:extLst>
          </p:cNvPr>
          <p:cNvSpPr/>
          <p:nvPr/>
        </p:nvSpPr>
        <p:spPr>
          <a:xfrm>
            <a:off x="2834879"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dirty="0">
                <a:solidFill>
                  <a:schemeClr val="tx1"/>
                </a:solidFill>
              </a:rPr>
              <a:t>Public disorder, </a:t>
            </a:r>
            <a:endParaRPr lang="en-US" sz="1200" b="1" dirty="0">
              <a:solidFill>
                <a:schemeClr val="tx1"/>
              </a:solidFill>
            </a:endParaRPr>
          </a:p>
          <a:p>
            <a:pPr algn="ctr" rtl="0">
              <a:lnSpc>
                <a:spcPct val="100000"/>
              </a:lnSpc>
            </a:pPr>
            <a:r>
              <a:rPr lang="en-gb" sz="1200" b="1" dirty="0">
                <a:solidFill>
                  <a:schemeClr val="tx1"/>
                </a:solidFill>
              </a:rPr>
              <a:t>Internal </a:t>
            </a:r>
            <a:r>
              <a:rPr lang="lv-LV" sz="1200" b="1" dirty="0" err="1">
                <a:solidFill>
                  <a:schemeClr val="tx1"/>
                </a:solidFill>
              </a:rPr>
              <a:t>conflict</a:t>
            </a:r>
            <a:endParaRPr lang="cs-CZ" sz="1200" b="1" dirty="0">
              <a:solidFill>
                <a:schemeClr val="tx1"/>
              </a:solidFill>
            </a:endParaRPr>
          </a:p>
        </p:txBody>
      </p:sp>
      <p:sp>
        <p:nvSpPr>
          <p:cNvPr id="24" name="Rectangle 23">
            <a:extLst>
              <a:ext uri="{FF2B5EF4-FFF2-40B4-BE49-F238E27FC236}">
                <a16:creationId xmlns:a16="http://schemas.microsoft.com/office/drawing/2014/main" id="{2DA901CD-6E45-11E8-9C9D-BF9F0B40E75C}"/>
              </a:ext>
            </a:extLst>
          </p:cNvPr>
          <p:cNvSpPr/>
          <p:nvPr/>
        </p:nvSpPr>
        <p:spPr>
          <a:xfrm>
            <a:off x="441325"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dirty="0">
                <a:solidFill>
                  <a:schemeClr val="tx1"/>
                </a:solidFill>
              </a:rPr>
              <a:t>Terrorist attacks​</a:t>
            </a:r>
            <a:endParaRPr lang="cs-CZ" sz="1200" b="1" dirty="0">
              <a:solidFill>
                <a:schemeClr val="tx1"/>
              </a:solidFill>
            </a:endParaRPr>
          </a:p>
        </p:txBody>
      </p:sp>
      <p:sp>
        <p:nvSpPr>
          <p:cNvPr id="25" name="Rectangle 24">
            <a:extLst>
              <a:ext uri="{FF2B5EF4-FFF2-40B4-BE49-F238E27FC236}">
                <a16:creationId xmlns:a16="http://schemas.microsoft.com/office/drawing/2014/main" id="{BF30206C-12D4-EEB7-CE89-0C07AC6F469B}"/>
              </a:ext>
            </a:extLst>
          </p:cNvPr>
          <p:cNvSpPr/>
          <p:nvPr/>
        </p:nvSpPr>
        <p:spPr>
          <a:xfrm>
            <a:off x="9377679" y="365397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Chemicals</a:t>
            </a:r>
            <a:endParaRPr lang="cs-CZ" sz="1200" b="1">
              <a:solidFill>
                <a:schemeClr val="tx1"/>
              </a:solidFill>
            </a:endParaRPr>
          </a:p>
        </p:txBody>
      </p:sp>
      <p:sp>
        <p:nvSpPr>
          <p:cNvPr id="26" name="Rectangle 25">
            <a:extLst>
              <a:ext uri="{FF2B5EF4-FFF2-40B4-BE49-F238E27FC236}">
                <a16:creationId xmlns:a16="http://schemas.microsoft.com/office/drawing/2014/main" id="{1067623A-B3C5-52F5-03E5-D1B8EDD0DF31}"/>
              </a:ext>
            </a:extLst>
          </p:cNvPr>
          <p:cNvSpPr/>
          <p:nvPr/>
        </p:nvSpPr>
        <p:spPr>
          <a:xfrm>
            <a:off x="9377679" y="408535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Biological substances</a:t>
            </a:r>
            <a:endParaRPr lang="cs-CZ" sz="1200" b="1">
              <a:solidFill>
                <a:schemeClr val="tx1"/>
              </a:solidFill>
            </a:endParaRPr>
          </a:p>
        </p:txBody>
      </p:sp>
      <p:sp>
        <p:nvSpPr>
          <p:cNvPr id="27" name="Rectangle 26">
            <a:extLst>
              <a:ext uri="{FF2B5EF4-FFF2-40B4-BE49-F238E27FC236}">
                <a16:creationId xmlns:a16="http://schemas.microsoft.com/office/drawing/2014/main" id="{2D84E03B-9A7B-A02D-97B5-D94E764ABF89}"/>
              </a:ext>
            </a:extLst>
          </p:cNvPr>
          <p:cNvSpPr/>
          <p:nvPr/>
        </p:nvSpPr>
        <p:spPr>
          <a:xfrm>
            <a:off x="9377679" y="322259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Radiation</a:t>
            </a:r>
            <a:endParaRPr lang="cs-CZ" sz="1200" b="1">
              <a:solidFill>
                <a:schemeClr val="tx1"/>
              </a:solidFill>
            </a:endParaRPr>
          </a:p>
        </p:txBody>
      </p:sp>
      <p:sp>
        <p:nvSpPr>
          <p:cNvPr id="34" name="Rectangle 33">
            <a:extLst>
              <a:ext uri="{FF2B5EF4-FFF2-40B4-BE49-F238E27FC236}">
                <a16:creationId xmlns:a16="http://schemas.microsoft.com/office/drawing/2014/main" id="{B7B8A45B-AEFD-DCA9-0558-B0D90D3C7B43}"/>
              </a:ext>
            </a:extLst>
          </p:cNvPr>
          <p:cNvSpPr/>
          <p:nvPr/>
        </p:nvSpPr>
        <p:spPr>
          <a:xfrm>
            <a:off x="5245576" y="5884200"/>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200" b="1" dirty="0" err="1">
                <a:solidFill>
                  <a:schemeClr val="tx1"/>
                </a:solidFill>
              </a:rPr>
              <a:t>Vehicle</a:t>
            </a:r>
            <a:r>
              <a:rPr lang="en-gb" sz="1200" b="1" dirty="0">
                <a:solidFill>
                  <a:schemeClr val="tx1"/>
                </a:solidFill>
              </a:rPr>
              <a:t> accidents</a:t>
            </a:r>
            <a:endParaRPr lang="cs-CZ" sz="1200" b="1" dirty="0">
              <a:solidFill>
                <a:schemeClr val="tx1"/>
              </a:solidFill>
            </a:endParaRPr>
          </a:p>
        </p:txBody>
      </p:sp>
      <p:sp>
        <p:nvSpPr>
          <p:cNvPr id="35" name="Rectangle 34">
            <a:extLst>
              <a:ext uri="{FF2B5EF4-FFF2-40B4-BE49-F238E27FC236}">
                <a16:creationId xmlns:a16="http://schemas.microsoft.com/office/drawing/2014/main" id="{E744447C-4F1F-BE8D-7558-98EACB739874}"/>
              </a:ext>
            </a:extLst>
          </p:cNvPr>
          <p:cNvSpPr/>
          <p:nvPr/>
        </p:nvSpPr>
        <p:spPr>
          <a:xfrm>
            <a:off x="2238060" y="5884862"/>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Aviation</a:t>
            </a:r>
            <a:endParaRPr lang="cs-CZ" sz="1200" b="1">
              <a:solidFill>
                <a:schemeClr val="tx1"/>
              </a:solidFill>
            </a:endParaRPr>
          </a:p>
        </p:txBody>
      </p:sp>
      <p:sp>
        <p:nvSpPr>
          <p:cNvPr id="36" name="Rectangle 35">
            <a:extLst>
              <a:ext uri="{FF2B5EF4-FFF2-40B4-BE49-F238E27FC236}">
                <a16:creationId xmlns:a16="http://schemas.microsoft.com/office/drawing/2014/main" id="{A0389670-D435-716D-7028-31CE40ECF7A5}"/>
              </a:ext>
            </a:extLst>
          </p:cNvPr>
          <p:cNvSpPr/>
          <p:nvPr/>
        </p:nvSpPr>
        <p:spPr>
          <a:xfrm>
            <a:off x="2238060" y="5453150"/>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Road transport</a:t>
            </a:r>
            <a:endParaRPr lang="cs-CZ" sz="1200" b="1">
              <a:solidFill>
                <a:schemeClr val="tx1"/>
              </a:solidFill>
            </a:endParaRPr>
          </a:p>
        </p:txBody>
      </p:sp>
      <p:sp>
        <p:nvSpPr>
          <p:cNvPr id="37" name="Rectangle 36">
            <a:extLst>
              <a:ext uri="{FF2B5EF4-FFF2-40B4-BE49-F238E27FC236}">
                <a16:creationId xmlns:a16="http://schemas.microsoft.com/office/drawing/2014/main" id="{034A5F98-DAD4-A147-D74A-8A66FEDB91E7}"/>
              </a:ext>
            </a:extLst>
          </p:cNvPr>
          <p:cNvSpPr/>
          <p:nvPr/>
        </p:nvSpPr>
        <p:spPr>
          <a:xfrm>
            <a:off x="2238060" y="5021438"/>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Railway</a:t>
            </a:r>
            <a:endParaRPr lang="cs-CZ" sz="1200" b="1">
              <a:solidFill>
                <a:schemeClr val="tx1"/>
              </a:solidFill>
            </a:endParaRPr>
          </a:p>
        </p:txBody>
      </p:sp>
      <p:sp>
        <p:nvSpPr>
          <p:cNvPr id="38" name="Rectangle 37">
            <a:extLst>
              <a:ext uri="{FF2B5EF4-FFF2-40B4-BE49-F238E27FC236}">
                <a16:creationId xmlns:a16="http://schemas.microsoft.com/office/drawing/2014/main" id="{CF0D17AB-C101-3E43-A499-2608FDFBF2B8}"/>
              </a:ext>
            </a:extLst>
          </p:cNvPr>
          <p:cNvSpPr/>
          <p:nvPr/>
        </p:nvSpPr>
        <p:spPr>
          <a:xfrm>
            <a:off x="2238060" y="4589726"/>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Ships</a:t>
            </a:r>
            <a:endParaRPr lang="cs-CZ" sz="1200" b="1">
              <a:solidFill>
                <a:schemeClr val="tx1"/>
              </a:solidFill>
            </a:endParaRPr>
          </a:p>
        </p:txBody>
      </p:sp>
      <p:cxnSp>
        <p:nvCxnSpPr>
          <p:cNvPr id="2070" name="Connector: Elbow 2069">
            <a:extLst>
              <a:ext uri="{FF2B5EF4-FFF2-40B4-BE49-F238E27FC236}">
                <a16:creationId xmlns:a16="http://schemas.microsoft.com/office/drawing/2014/main" id="{C65A2074-51BD-FD48-A29D-7618E17FBAB9}"/>
              </a:ext>
            </a:extLst>
          </p:cNvPr>
          <p:cNvCxnSpPr>
            <a:cxnSpLocks/>
            <a:stCxn id="15" idx="2"/>
            <a:endCxn id="23" idx="0"/>
          </p:cNvCxnSpPr>
          <p:nvPr/>
        </p:nvCxnSpPr>
        <p:spPr>
          <a:xfrm rot="5400000">
            <a:off x="4903177" y="1454983"/>
            <a:ext cx="241809" cy="2140664"/>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6" name="Rectangle 5">
            <a:extLst>
              <a:ext uri="{FF2B5EF4-FFF2-40B4-BE49-F238E27FC236}">
                <a16:creationId xmlns:a16="http://schemas.microsoft.com/office/drawing/2014/main" id="{32FA323C-4DF5-909B-878D-1628B45E296E}"/>
              </a:ext>
            </a:extLst>
          </p:cNvPr>
          <p:cNvSpPr/>
          <p:nvPr/>
        </p:nvSpPr>
        <p:spPr>
          <a:xfrm>
            <a:off x="9377679" y="5444839"/>
            <a:ext cx="2371407" cy="72736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US" sz="1200" dirty="0">
                <a:solidFill>
                  <a:schemeClr val="tx1"/>
                </a:solidFill>
                <a:hlinkClick r:id="rId3">
                  <a:extLst>
                    <a:ext uri="{A12FA001-AC4F-418D-AE19-62706E023703}">
                      <ahyp:hlinkClr xmlns:ahyp="http://schemas.microsoft.com/office/drawing/2018/hyperlinkcolor" val="tx"/>
                    </a:ext>
                  </a:extLst>
                </a:hlinkClick>
              </a:rPr>
              <a:t>Civil Protection and Disaster Management Law​</a:t>
            </a:r>
            <a:endParaRPr lang="lv-LV" sz="1200" dirty="0">
              <a:solidFill>
                <a:schemeClr val="tx1"/>
              </a:solidFill>
            </a:endParaRPr>
          </a:p>
        </p:txBody>
      </p:sp>
      <p:sp>
        <p:nvSpPr>
          <p:cNvPr id="8" name="Freeform 50">
            <a:extLst>
              <a:ext uri="{FF2B5EF4-FFF2-40B4-BE49-F238E27FC236}">
                <a16:creationId xmlns:a16="http://schemas.microsoft.com/office/drawing/2014/main" id="{4528EADE-8BEF-5FCB-E3FF-940456310D42}"/>
              </a:ext>
            </a:extLst>
          </p:cNvPr>
          <p:cNvSpPr>
            <a:spLocks noChangeAspect="1"/>
          </p:cNvSpPr>
          <p:nvPr/>
        </p:nvSpPr>
        <p:spPr bwMode="auto">
          <a:xfrm>
            <a:off x="9487565" y="566691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cxnSp>
        <p:nvCxnSpPr>
          <p:cNvPr id="41" name="Straight Arrow Connector 40">
            <a:extLst>
              <a:ext uri="{FF2B5EF4-FFF2-40B4-BE49-F238E27FC236}">
                <a16:creationId xmlns:a16="http://schemas.microsoft.com/office/drawing/2014/main" id="{CEAAADF5-671B-80A4-6E5E-DA04481BCBC1}"/>
              </a:ext>
            </a:extLst>
          </p:cNvPr>
          <p:cNvCxnSpPr>
            <a:stCxn id="17" idx="3"/>
            <a:endCxn id="27" idx="1"/>
          </p:cNvCxnSpPr>
          <p:nvPr/>
        </p:nvCxnSpPr>
        <p:spPr>
          <a:xfrm>
            <a:off x="8759032" y="3365931"/>
            <a:ext cx="618647" cy="33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077E2C34-DC09-2879-AACF-29F0C6604DF5}"/>
              </a:ext>
            </a:extLst>
          </p:cNvPr>
          <p:cNvCxnSpPr>
            <a:stCxn id="17" idx="3"/>
            <a:endCxn id="25" idx="1"/>
          </p:cNvCxnSpPr>
          <p:nvPr/>
        </p:nvCxnSpPr>
        <p:spPr>
          <a:xfrm>
            <a:off x="8759032" y="3365931"/>
            <a:ext cx="618647" cy="43171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1" name="Connector: Elbow 50">
            <a:extLst>
              <a:ext uri="{FF2B5EF4-FFF2-40B4-BE49-F238E27FC236}">
                <a16:creationId xmlns:a16="http://schemas.microsoft.com/office/drawing/2014/main" id="{DAB9DF14-D314-01A6-E5C4-003DA0BC7733}"/>
              </a:ext>
            </a:extLst>
          </p:cNvPr>
          <p:cNvCxnSpPr>
            <a:stCxn id="17" idx="3"/>
            <a:endCxn id="26" idx="1"/>
          </p:cNvCxnSpPr>
          <p:nvPr/>
        </p:nvCxnSpPr>
        <p:spPr>
          <a:xfrm>
            <a:off x="8759032" y="3365931"/>
            <a:ext cx="618647" cy="86309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0" name="Connector: Elbow 29">
            <a:extLst>
              <a:ext uri="{FF2B5EF4-FFF2-40B4-BE49-F238E27FC236}">
                <a16:creationId xmlns:a16="http://schemas.microsoft.com/office/drawing/2014/main" id="{9162BBEE-0406-8AE8-6310-3ED5A1A0D839}"/>
              </a:ext>
            </a:extLst>
          </p:cNvPr>
          <p:cNvCxnSpPr>
            <a:stCxn id="15" idx="2"/>
            <a:endCxn id="16" idx="0"/>
          </p:cNvCxnSpPr>
          <p:nvPr/>
        </p:nvCxnSpPr>
        <p:spPr>
          <a:xfrm rot="16200000" flipH="1">
            <a:off x="6423168" y="2075655"/>
            <a:ext cx="241809" cy="899319"/>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9" name="Connector: Elbow 38">
            <a:extLst>
              <a:ext uri="{FF2B5EF4-FFF2-40B4-BE49-F238E27FC236}">
                <a16:creationId xmlns:a16="http://schemas.microsoft.com/office/drawing/2014/main" id="{E0E79A37-9388-CAF6-5F69-909079588163}"/>
              </a:ext>
            </a:extLst>
          </p:cNvPr>
          <p:cNvCxnSpPr>
            <a:stCxn id="15" idx="2"/>
            <a:endCxn id="24" idx="0"/>
          </p:cNvCxnSpPr>
          <p:nvPr/>
        </p:nvCxnSpPr>
        <p:spPr>
          <a:xfrm rot="5400000">
            <a:off x="3706400" y="258206"/>
            <a:ext cx="241809" cy="4534218"/>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0" name="Connector: Elbow 2049">
            <a:extLst>
              <a:ext uri="{FF2B5EF4-FFF2-40B4-BE49-F238E27FC236}">
                <a16:creationId xmlns:a16="http://schemas.microsoft.com/office/drawing/2014/main" id="{817DB9B9-C5E7-AD6A-DBD4-7B154FF215DF}"/>
              </a:ext>
            </a:extLst>
          </p:cNvPr>
          <p:cNvCxnSpPr>
            <a:cxnSpLocks/>
            <a:stCxn id="34" idx="1"/>
            <a:endCxn id="38" idx="3"/>
          </p:cNvCxnSpPr>
          <p:nvPr/>
        </p:nvCxnSpPr>
        <p:spPr>
          <a:xfrm rot="10800000">
            <a:off x="4609786" y="4733396"/>
            <a:ext cx="635791" cy="1294805"/>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3" name="Connector: Elbow 2052">
            <a:extLst>
              <a:ext uri="{FF2B5EF4-FFF2-40B4-BE49-F238E27FC236}">
                <a16:creationId xmlns:a16="http://schemas.microsoft.com/office/drawing/2014/main" id="{6441772F-FE0F-25E0-9A66-A6A3D3383D27}"/>
              </a:ext>
            </a:extLst>
          </p:cNvPr>
          <p:cNvCxnSpPr>
            <a:cxnSpLocks/>
            <a:stCxn id="34" idx="1"/>
            <a:endCxn id="37" idx="3"/>
          </p:cNvCxnSpPr>
          <p:nvPr/>
        </p:nvCxnSpPr>
        <p:spPr>
          <a:xfrm rot="10800000">
            <a:off x="4609786" y="5165108"/>
            <a:ext cx="635791" cy="863093"/>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8" name="Connector: Elbow 2057">
            <a:extLst>
              <a:ext uri="{FF2B5EF4-FFF2-40B4-BE49-F238E27FC236}">
                <a16:creationId xmlns:a16="http://schemas.microsoft.com/office/drawing/2014/main" id="{05A14248-A596-13C6-68A2-501562B33968}"/>
              </a:ext>
            </a:extLst>
          </p:cNvPr>
          <p:cNvCxnSpPr>
            <a:cxnSpLocks/>
            <a:stCxn id="34" idx="1"/>
            <a:endCxn id="36" idx="3"/>
          </p:cNvCxnSpPr>
          <p:nvPr/>
        </p:nvCxnSpPr>
        <p:spPr>
          <a:xfrm rot="10800000">
            <a:off x="4609786" y="5596820"/>
            <a:ext cx="635791" cy="43138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64" name="Connector: Elbow 2063">
            <a:extLst>
              <a:ext uri="{FF2B5EF4-FFF2-40B4-BE49-F238E27FC236}">
                <a16:creationId xmlns:a16="http://schemas.microsoft.com/office/drawing/2014/main" id="{9B3B1B17-790E-1B82-6AE9-192A86B756CA}"/>
              </a:ext>
            </a:extLst>
          </p:cNvPr>
          <p:cNvCxnSpPr>
            <a:cxnSpLocks/>
            <a:stCxn id="34" idx="1"/>
            <a:endCxn id="35" idx="3"/>
          </p:cNvCxnSpPr>
          <p:nvPr/>
        </p:nvCxnSpPr>
        <p:spPr>
          <a:xfrm rot="10800000" flipV="1">
            <a:off x="4609786" y="6028199"/>
            <a:ext cx="635791" cy="33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1263383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a:extLst>
              <a:ext uri="{FF2B5EF4-FFF2-40B4-BE49-F238E27FC236}">
                <a16:creationId xmlns:a16="http://schemas.microsoft.com/office/drawing/2014/main" id="{DFCE0E3C-012B-4F30-8D46-589FB7BDFA9D}"/>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p:blipFill>
        <p:spPr bwMode="auto">
          <a:xfrm flipH="1">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893539"/>
            <a:ext cx="7418387" cy="2428875"/>
          </a:xfrm>
        </p:spPr>
        <p:txBody>
          <a:bodyPr vert="horz" rtlCol="0">
            <a:normAutofit/>
          </a:bodyPr>
          <a:lstStyle/>
          <a:p>
            <a:pPr rtl="0">
              <a:lnSpc>
                <a:spcPct val="90000"/>
              </a:lnSpc>
            </a:pPr>
            <a:r>
              <a:rPr lang="en-gb" sz="4000" dirty="0"/>
              <a:t>6.1</a:t>
            </a:r>
            <a:r>
              <a:rPr lang="en-gb" sz="4000" dirty="0">
                <a:latin typeface="+mj-lt"/>
              </a:rPr>
              <a:t>.</a:t>
            </a:r>
            <a:r>
              <a:rPr lang="en-gb" sz="4000" dirty="0"/>
              <a:t> </a:t>
            </a:r>
            <a:r>
              <a:rPr lang="lv-LV" sz="4000" dirty="0"/>
              <a:t>N</a:t>
            </a:r>
            <a:r>
              <a:rPr lang="en-gb" sz="4000" dirty="0" err="1"/>
              <a:t>atural</a:t>
            </a:r>
            <a:r>
              <a:rPr lang="en-gb" sz="4000" dirty="0"/>
              <a:t> disasters</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3483533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2C7562-6D69-5005-C5F1-C5EA8C88C940}"/>
              </a:ext>
            </a:extLst>
          </p:cNvPr>
          <p:cNvGraphicFramePr>
            <a:graphicFrameLocks noChangeAspect="1"/>
          </p:cNvGraphicFramePr>
          <p:nvPr>
            <p:custDataLst>
              <p:tags r:id="rId1"/>
            </p:custDataLst>
            <p:extLst>
              <p:ext uri="{D42A27DB-BD31-4B8C-83A1-F6EECF244321}">
                <p14:modId xmlns:p14="http://schemas.microsoft.com/office/powerpoint/2010/main" val="2815454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63" imgH="562" progId="TCLayout.ActiveDocument.1">
                  <p:embed/>
                </p:oleObj>
              </mc:Choice>
              <mc:Fallback>
                <p:oleObj name="think-cell Slide" r:id="rId4" imgW="563" imgH="562" progId="TCLayout.ActiveDocument.1">
                  <p:embed/>
                  <p:pic>
                    <p:nvPicPr>
                      <p:cNvPr id="6" name="think-cell data - do not delete" hidden="1">
                        <a:extLst>
                          <a:ext uri="{FF2B5EF4-FFF2-40B4-BE49-F238E27FC236}">
                            <a16:creationId xmlns:a16="http://schemas.microsoft.com/office/drawing/2014/main" id="{062C7562-6D69-5005-C5F1-C5EA8C88C9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DC58C25F-8110-0C29-4A50-5DADA78B621C}"/>
              </a:ext>
            </a:extLst>
          </p:cNvPr>
          <p:cNvSpPr/>
          <p:nvPr/>
        </p:nvSpPr>
        <p:spPr>
          <a:xfrm>
            <a:off x="6275388" y="1819275"/>
            <a:ext cx="482681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What should you do if you are caught in a forest fire?</a:t>
            </a:r>
          </a:p>
        </p:txBody>
      </p:sp>
      <p:sp>
        <p:nvSpPr>
          <p:cNvPr id="69" name="Rectangle 68">
            <a:extLst>
              <a:ext uri="{FF2B5EF4-FFF2-40B4-BE49-F238E27FC236}">
                <a16:creationId xmlns:a16="http://schemas.microsoft.com/office/drawing/2014/main" id="{6F441B59-1EA1-79F9-2301-6600202372C1}"/>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23" name="Google Shape;1016;p85">
            <a:extLst>
              <a:ext uri="{FF2B5EF4-FFF2-40B4-BE49-F238E27FC236}">
                <a16:creationId xmlns:a16="http://schemas.microsoft.com/office/drawing/2014/main" id="{2C5C5110-3897-EA73-7294-681D5C34C589}"/>
              </a:ext>
            </a:extLst>
          </p:cNvPr>
          <p:cNvGrpSpPr/>
          <p:nvPr/>
        </p:nvGrpSpPr>
        <p:grpSpPr>
          <a:xfrm>
            <a:off x="11280725" y="1927275"/>
            <a:ext cx="360363" cy="360363"/>
            <a:chOff x="6609739" y="1462663"/>
            <a:chExt cx="453681" cy="453496"/>
          </a:xfrm>
          <a:solidFill>
            <a:schemeClr val="bg1"/>
          </a:solidFill>
        </p:grpSpPr>
        <p:sp>
          <p:nvSpPr>
            <p:cNvPr id="24" name="Google Shape;1017;p85">
              <a:extLst>
                <a:ext uri="{FF2B5EF4-FFF2-40B4-BE49-F238E27FC236}">
                  <a16:creationId xmlns:a16="http://schemas.microsoft.com/office/drawing/2014/main" id="{471BA042-EC47-EF09-8744-7DDB4FB50433}"/>
                </a:ext>
              </a:extLst>
            </p:cNvPr>
            <p:cNvSpPr/>
            <p:nvPr/>
          </p:nvSpPr>
          <p:spPr>
            <a:xfrm>
              <a:off x="6974499" y="1462663"/>
              <a:ext cx="189" cy="19340"/>
            </a:xfrm>
            <a:custGeom>
              <a:avLst/>
              <a:gdLst/>
              <a:ahLst/>
              <a:cxnLst/>
              <a:rect l="l" t="t" r="r" b="b"/>
              <a:pathLst>
                <a:path w="189" h="19340" extrusionOk="0">
                  <a:moveTo>
                    <a:pt x="0" y="0"/>
                  </a:moveTo>
                  <a:lnTo>
                    <a:pt x="189" y="19341"/>
                  </a:lnTo>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18;p85">
              <a:extLst>
                <a:ext uri="{FF2B5EF4-FFF2-40B4-BE49-F238E27FC236}">
                  <a16:creationId xmlns:a16="http://schemas.microsoft.com/office/drawing/2014/main" id="{7FA0B9BD-34FB-58E2-2ECB-680A9E3F6942}"/>
                </a:ext>
              </a:extLst>
            </p:cNvPr>
            <p:cNvSpPr/>
            <p:nvPr/>
          </p:nvSpPr>
          <p:spPr>
            <a:xfrm>
              <a:off x="6609739" y="1462821"/>
              <a:ext cx="453681" cy="453338"/>
            </a:xfrm>
            <a:custGeom>
              <a:avLst/>
              <a:gdLst/>
              <a:ahLst/>
              <a:cxnLst/>
              <a:rect l="l" t="t" r="r" b="b"/>
              <a:pathLst>
                <a:path w="453681" h="453338" extrusionOk="0">
                  <a:moveTo>
                    <a:pt x="0" y="0"/>
                  </a:moveTo>
                  <a:lnTo>
                    <a:pt x="0" y="453244"/>
                  </a:lnTo>
                  <a:lnTo>
                    <a:pt x="84038" y="453244"/>
                  </a:lnTo>
                  <a:lnTo>
                    <a:pt x="93679" y="453244"/>
                  </a:lnTo>
                  <a:lnTo>
                    <a:pt x="94152" y="387505"/>
                  </a:lnTo>
                  <a:lnTo>
                    <a:pt x="57758" y="388040"/>
                  </a:lnTo>
                  <a:lnTo>
                    <a:pt x="92009" y="316096"/>
                  </a:lnTo>
                  <a:lnTo>
                    <a:pt x="72253" y="316096"/>
                  </a:lnTo>
                  <a:lnTo>
                    <a:pt x="102061" y="258641"/>
                  </a:lnTo>
                  <a:lnTo>
                    <a:pt x="131870" y="316096"/>
                  </a:lnTo>
                  <a:lnTo>
                    <a:pt x="112113" y="316096"/>
                  </a:lnTo>
                  <a:lnTo>
                    <a:pt x="146490" y="388261"/>
                  </a:lnTo>
                  <a:lnTo>
                    <a:pt x="106567" y="388261"/>
                  </a:lnTo>
                  <a:lnTo>
                    <a:pt x="107039" y="453244"/>
                  </a:lnTo>
                  <a:lnTo>
                    <a:pt x="116682" y="453244"/>
                  </a:lnTo>
                  <a:lnTo>
                    <a:pt x="196465" y="453244"/>
                  </a:lnTo>
                  <a:lnTo>
                    <a:pt x="196465" y="453244"/>
                  </a:lnTo>
                  <a:lnTo>
                    <a:pt x="215780" y="453244"/>
                  </a:lnTo>
                  <a:lnTo>
                    <a:pt x="215780" y="249443"/>
                  </a:lnTo>
                  <a:lnTo>
                    <a:pt x="165113" y="249443"/>
                  </a:lnTo>
                  <a:lnTo>
                    <a:pt x="201696" y="185846"/>
                  </a:lnTo>
                  <a:lnTo>
                    <a:pt x="179040" y="185846"/>
                  </a:lnTo>
                  <a:lnTo>
                    <a:pt x="212945" y="127163"/>
                  </a:lnTo>
                  <a:lnTo>
                    <a:pt x="192904" y="127163"/>
                  </a:lnTo>
                  <a:lnTo>
                    <a:pt x="226714" y="74086"/>
                  </a:lnTo>
                  <a:lnTo>
                    <a:pt x="257374" y="127163"/>
                  </a:lnTo>
                  <a:lnTo>
                    <a:pt x="237302" y="127163"/>
                  </a:lnTo>
                  <a:lnTo>
                    <a:pt x="271207" y="185846"/>
                  </a:lnTo>
                  <a:lnTo>
                    <a:pt x="248173" y="185846"/>
                  </a:lnTo>
                  <a:lnTo>
                    <a:pt x="284882" y="249380"/>
                  </a:lnTo>
                  <a:lnTo>
                    <a:pt x="235223" y="249380"/>
                  </a:lnTo>
                  <a:lnTo>
                    <a:pt x="235223" y="433746"/>
                  </a:lnTo>
                  <a:lnTo>
                    <a:pt x="235223" y="433746"/>
                  </a:lnTo>
                  <a:lnTo>
                    <a:pt x="235223" y="450503"/>
                  </a:lnTo>
                  <a:lnTo>
                    <a:pt x="235223" y="450503"/>
                  </a:lnTo>
                  <a:lnTo>
                    <a:pt x="235223" y="453086"/>
                  </a:lnTo>
                  <a:lnTo>
                    <a:pt x="334164" y="453338"/>
                  </a:lnTo>
                  <a:lnTo>
                    <a:pt x="334164" y="453118"/>
                  </a:lnTo>
                  <a:lnTo>
                    <a:pt x="345445" y="453118"/>
                  </a:lnTo>
                  <a:lnTo>
                    <a:pt x="345885" y="390119"/>
                  </a:lnTo>
                  <a:lnTo>
                    <a:pt x="307633" y="390119"/>
                  </a:lnTo>
                  <a:lnTo>
                    <a:pt x="341978" y="317986"/>
                  </a:lnTo>
                  <a:lnTo>
                    <a:pt x="322221" y="317986"/>
                  </a:lnTo>
                  <a:lnTo>
                    <a:pt x="352030" y="260499"/>
                  </a:lnTo>
                  <a:lnTo>
                    <a:pt x="381839" y="317986"/>
                  </a:lnTo>
                  <a:lnTo>
                    <a:pt x="362082" y="317986"/>
                  </a:lnTo>
                  <a:lnTo>
                    <a:pt x="396459" y="390119"/>
                  </a:lnTo>
                  <a:lnTo>
                    <a:pt x="358206" y="390119"/>
                  </a:lnTo>
                  <a:lnTo>
                    <a:pt x="358647" y="453118"/>
                  </a:lnTo>
                  <a:lnTo>
                    <a:pt x="367879" y="453118"/>
                  </a:lnTo>
                  <a:lnTo>
                    <a:pt x="453681" y="453118"/>
                  </a:lnTo>
                  <a:lnTo>
                    <a:pt x="453681" y="0"/>
                  </a:lnTo>
                  <a:close/>
                  <a:moveTo>
                    <a:pt x="434271" y="433903"/>
                  </a:moveTo>
                  <a:lnTo>
                    <a:pt x="377553" y="433903"/>
                  </a:lnTo>
                  <a:lnTo>
                    <a:pt x="377364" y="407286"/>
                  </a:lnTo>
                  <a:lnTo>
                    <a:pt x="426520" y="407286"/>
                  </a:lnTo>
                  <a:lnTo>
                    <a:pt x="392111" y="337043"/>
                  </a:lnTo>
                  <a:lnTo>
                    <a:pt x="413002" y="337043"/>
                  </a:lnTo>
                  <a:lnTo>
                    <a:pt x="352093" y="219645"/>
                  </a:lnTo>
                  <a:lnTo>
                    <a:pt x="291216" y="337043"/>
                  </a:lnTo>
                  <a:lnTo>
                    <a:pt x="312107" y="337043"/>
                  </a:lnTo>
                  <a:lnTo>
                    <a:pt x="277761" y="407412"/>
                  </a:lnTo>
                  <a:lnTo>
                    <a:pt x="326916" y="407412"/>
                  </a:lnTo>
                  <a:lnTo>
                    <a:pt x="326728" y="434187"/>
                  </a:lnTo>
                  <a:lnTo>
                    <a:pt x="257689" y="434187"/>
                  </a:lnTo>
                  <a:lnTo>
                    <a:pt x="257689" y="268815"/>
                  </a:lnTo>
                  <a:lnTo>
                    <a:pt x="318314" y="268815"/>
                  </a:lnTo>
                  <a:lnTo>
                    <a:pt x="281605" y="205281"/>
                  </a:lnTo>
                  <a:lnTo>
                    <a:pt x="304671" y="205281"/>
                  </a:lnTo>
                  <a:lnTo>
                    <a:pt x="270766" y="146598"/>
                  </a:lnTo>
                  <a:lnTo>
                    <a:pt x="290838" y="146598"/>
                  </a:lnTo>
                  <a:lnTo>
                    <a:pt x="226714" y="35626"/>
                  </a:lnTo>
                  <a:lnTo>
                    <a:pt x="159441" y="146598"/>
                  </a:lnTo>
                  <a:lnTo>
                    <a:pt x="179512" y="146598"/>
                  </a:lnTo>
                  <a:lnTo>
                    <a:pt x="145576" y="205281"/>
                  </a:lnTo>
                  <a:lnTo>
                    <a:pt x="168232" y="205281"/>
                  </a:lnTo>
                  <a:lnTo>
                    <a:pt x="131523" y="268815"/>
                  </a:lnTo>
                  <a:lnTo>
                    <a:pt x="193188" y="268815"/>
                  </a:lnTo>
                  <a:lnTo>
                    <a:pt x="192936" y="434155"/>
                  </a:lnTo>
                  <a:lnTo>
                    <a:pt x="125473" y="434155"/>
                  </a:lnTo>
                  <a:lnTo>
                    <a:pt x="125473" y="407192"/>
                  </a:lnTo>
                  <a:lnTo>
                    <a:pt x="176393" y="407192"/>
                  </a:lnTo>
                  <a:lnTo>
                    <a:pt x="142016" y="335058"/>
                  </a:lnTo>
                  <a:lnTo>
                    <a:pt x="162938" y="335058"/>
                  </a:lnTo>
                  <a:lnTo>
                    <a:pt x="102030" y="217629"/>
                  </a:lnTo>
                  <a:lnTo>
                    <a:pt x="41121" y="335058"/>
                  </a:lnTo>
                  <a:lnTo>
                    <a:pt x="62044" y="335058"/>
                  </a:lnTo>
                  <a:lnTo>
                    <a:pt x="27383" y="407192"/>
                  </a:lnTo>
                  <a:lnTo>
                    <a:pt x="74648" y="407192"/>
                  </a:lnTo>
                  <a:lnTo>
                    <a:pt x="74994" y="434092"/>
                  </a:lnTo>
                  <a:lnTo>
                    <a:pt x="19442" y="434092"/>
                  </a:lnTo>
                  <a:lnTo>
                    <a:pt x="19442" y="19183"/>
                  </a:lnTo>
                  <a:lnTo>
                    <a:pt x="434271" y="19183"/>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50" name="Rectangle 49">
            <a:extLst>
              <a:ext uri="{FF2B5EF4-FFF2-40B4-BE49-F238E27FC236}">
                <a16:creationId xmlns:a16="http://schemas.microsoft.com/office/drawing/2014/main" id="{1E384B44-88CC-8F76-E9AF-DBDBDD24EECE}"/>
              </a:ext>
            </a:extLst>
          </p:cNvPr>
          <p:cNvSpPr/>
          <p:nvPr/>
        </p:nvSpPr>
        <p:spPr>
          <a:xfrm>
            <a:off x="442913" y="1819275"/>
            <a:ext cx="482681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dirty="0"/>
              <a:t>What should </a:t>
            </a:r>
            <a:r>
              <a:rPr lang="lv-LV" sz="1600" b="1" dirty="0" err="1"/>
              <a:t>you</a:t>
            </a:r>
            <a:r>
              <a:rPr lang="en-gb" sz="1600" b="1" dirty="0"/>
              <a:t> do if </a:t>
            </a:r>
            <a:r>
              <a:rPr lang="lv-LV" sz="1600" b="1" dirty="0" err="1"/>
              <a:t>you</a:t>
            </a:r>
            <a:r>
              <a:rPr lang="en-gb" sz="1600" b="1" dirty="0"/>
              <a:t> see a fire?</a:t>
            </a:r>
          </a:p>
        </p:txBody>
      </p:sp>
      <p:sp>
        <p:nvSpPr>
          <p:cNvPr id="61" name="Rectangle 60">
            <a:extLst>
              <a:ext uri="{FF2B5EF4-FFF2-40B4-BE49-F238E27FC236}">
                <a16:creationId xmlns:a16="http://schemas.microsoft.com/office/drawing/2014/main" id="{36EC9590-1EE1-4A70-E132-4F25FB2A166A}"/>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5" name="Google Shape;970;p84">
            <a:extLst>
              <a:ext uri="{FF2B5EF4-FFF2-40B4-BE49-F238E27FC236}">
                <a16:creationId xmlns:a16="http://schemas.microsoft.com/office/drawing/2014/main" id="{65061E83-58C9-D2B5-D4C8-CBAF9E3E56CE}"/>
              </a:ext>
            </a:extLst>
          </p:cNvPr>
          <p:cNvGrpSpPr/>
          <p:nvPr/>
        </p:nvGrpSpPr>
        <p:grpSpPr>
          <a:xfrm>
            <a:off x="5448267" y="1927275"/>
            <a:ext cx="360363" cy="360363"/>
            <a:chOff x="8442694" y="1867103"/>
            <a:chExt cx="457200" cy="457200"/>
          </a:xfrm>
          <a:solidFill>
            <a:schemeClr val="bg1"/>
          </a:solidFill>
        </p:grpSpPr>
        <p:sp>
          <p:nvSpPr>
            <p:cNvPr id="9" name="Google Shape;971;p84">
              <a:extLst>
                <a:ext uri="{FF2B5EF4-FFF2-40B4-BE49-F238E27FC236}">
                  <a16:creationId xmlns:a16="http://schemas.microsoft.com/office/drawing/2014/main" id="{AE90E3F2-CCBD-9B87-D668-D7BDD4414C26}"/>
                </a:ext>
              </a:extLst>
            </p:cNvPr>
            <p:cNvSpPr/>
            <p:nvPr/>
          </p:nvSpPr>
          <p:spPr>
            <a:xfrm>
              <a:off x="8442694"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0" name="Google Shape;972;p84">
              <a:extLst>
                <a:ext uri="{FF2B5EF4-FFF2-40B4-BE49-F238E27FC236}">
                  <a16:creationId xmlns:a16="http://schemas.microsoft.com/office/drawing/2014/main" id="{2F9E23BE-A36B-BA2F-7D45-005A3FE049B4}"/>
                </a:ext>
              </a:extLst>
            </p:cNvPr>
            <p:cNvSpPr/>
            <p:nvPr/>
          </p:nvSpPr>
          <p:spPr>
            <a:xfrm>
              <a:off x="8649355" y="1909362"/>
              <a:ext cx="1397" cy="2889"/>
            </a:xfrm>
            <a:custGeom>
              <a:avLst/>
              <a:gdLst/>
              <a:ahLst/>
              <a:cxnLst/>
              <a:rect l="l" t="t" r="r" b="b"/>
              <a:pathLst>
                <a:path w="1397" h="2889" extrusionOk="0">
                  <a:moveTo>
                    <a:pt x="0" y="0"/>
                  </a:moveTo>
                  <a:cubicBezTo>
                    <a:pt x="476" y="921"/>
                    <a:pt x="953" y="1873"/>
                    <a:pt x="1397" y="2889"/>
                  </a:cubicBezTo>
                  <a:lnTo>
                    <a:pt x="1016" y="254"/>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3;p84">
              <a:extLst>
                <a:ext uri="{FF2B5EF4-FFF2-40B4-BE49-F238E27FC236}">
                  <a16:creationId xmlns:a16="http://schemas.microsoft.com/office/drawing/2014/main" id="{A9DFC1DF-B5B1-1C91-8E0E-AF1160BDDF7C}"/>
                </a:ext>
              </a:extLst>
            </p:cNvPr>
            <p:cNvSpPr/>
            <p:nvPr/>
          </p:nvSpPr>
          <p:spPr>
            <a:xfrm>
              <a:off x="8558905" y="1909647"/>
              <a:ext cx="207684" cy="374777"/>
            </a:xfrm>
            <a:custGeom>
              <a:avLst/>
              <a:gdLst/>
              <a:ahLst/>
              <a:cxnLst/>
              <a:rect l="l" t="t" r="r" b="b"/>
              <a:pathLst>
                <a:path w="207684" h="374777" extrusionOk="0">
                  <a:moveTo>
                    <a:pt x="69939" y="362934"/>
                  </a:moveTo>
                  <a:lnTo>
                    <a:pt x="67557" y="334359"/>
                  </a:lnTo>
                  <a:cubicBezTo>
                    <a:pt x="63049" y="280384"/>
                    <a:pt x="84067" y="255746"/>
                    <a:pt x="104355" y="231839"/>
                  </a:cubicBezTo>
                  <a:cubicBezTo>
                    <a:pt x="112500" y="222828"/>
                    <a:pt x="119791" y="213081"/>
                    <a:pt x="126136" y="202724"/>
                  </a:cubicBezTo>
                  <a:cubicBezTo>
                    <a:pt x="137832" y="231495"/>
                    <a:pt x="138701" y="263531"/>
                    <a:pt x="128581" y="292894"/>
                  </a:cubicBezTo>
                  <a:cubicBezTo>
                    <a:pt x="128390" y="293624"/>
                    <a:pt x="128232" y="294386"/>
                    <a:pt x="128009" y="295180"/>
                  </a:cubicBezTo>
                  <a:cubicBezTo>
                    <a:pt x="114706" y="344805"/>
                    <a:pt x="95307" y="365824"/>
                    <a:pt x="85687" y="374555"/>
                  </a:cubicBezTo>
                  <a:lnTo>
                    <a:pt x="85433" y="374777"/>
                  </a:lnTo>
                  <a:lnTo>
                    <a:pt x="110483" y="362331"/>
                  </a:lnTo>
                  <a:cubicBezTo>
                    <a:pt x="168840" y="333248"/>
                    <a:pt x="201257" y="289560"/>
                    <a:pt x="206845" y="232410"/>
                  </a:cubicBezTo>
                  <a:cubicBezTo>
                    <a:pt x="215830" y="140335"/>
                    <a:pt x="150615" y="40577"/>
                    <a:pt x="111595" y="10509"/>
                  </a:cubicBezTo>
                  <a:lnTo>
                    <a:pt x="109182" y="8636"/>
                  </a:lnTo>
                  <a:cubicBezTo>
                    <a:pt x="103771" y="4818"/>
                    <a:pt x="97777" y="1901"/>
                    <a:pt x="91433" y="0"/>
                  </a:cubicBezTo>
                  <a:lnTo>
                    <a:pt x="91814" y="2635"/>
                  </a:lnTo>
                  <a:cubicBezTo>
                    <a:pt x="94844" y="9737"/>
                    <a:pt x="96357" y="17394"/>
                    <a:pt x="96259" y="25114"/>
                  </a:cubicBezTo>
                  <a:cubicBezTo>
                    <a:pt x="96320" y="31735"/>
                    <a:pt x="95246" y="38318"/>
                    <a:pt x="93084" y="44577"/>
                  </a:cubicBezTo>
                  <a:cubicBezTo>
                    <a:pt x="87337" y="67469"/>
                    <a:pt x="70859" y="91821"/>
                    <a:pt x="53365" y="117158"/>
                  </a:cubicBezTo>
                  <a:cubicBezTo>
                    <a:pt x="11582" y="178213"/>
                    <a:pt x="-40393" y="254191"/>
                    <a:pt x="49555" y="342805"/>
                  </a:cubicBezTo>
                  <a:close/>
                  <a:moveTo>
                    <a:pt x="70859" y="129159"/>
                  </a:moveTo>
                  <a:cubicBezTo>
                    <a:pt x="90925" y="99854"/>
                    <a:pt x="110134" y="71755"/>
                    <a:pt x="115182" y="43180"/>
                  </a:cubicBezTo>
                  <a:cubicBezTo>
                    <a:pt x="149504" y="81280"/>
                    <a:pt x="192557" y="159480"/>
                    <a:pt x="185699" y="230315"/>
                  </a:cubicBezTo>
                  <a:cubicBezTo>
                    <a:pt x="182808" y="263658"/>
                    <a:pt x="166992" y="294548"/>
                    <a:pt x="141630" y="316389"/>
                  </a:cubicBezTo>
                  <a:cubicBezTo>
                    <a:pt x="157505" y="281464"/>
                    <a:pt x="168173" y="229330"/>
                    <a:pt x="134455" y="171196"/>
                  </a:cubicBezTo>
                  <a:lnTo>
                    <a:pt x="123882" y="152972"/>
                  </a:lnTo>
                  <a:cubicBezTo>
                    <a:pt x="123014" y="158620"/>
                    <a:pt x="121600" y="164170"/>
                    <a:pt x="119659" y="169545"/>
                  </a:cubicBezTo>
                  <a:cubicBezTo>
                    <a:pt x="116941" y="177392"/>
                    <a:pt x="113044" y="184779"/>
                    <a:pt x="108102" y="191452"/>
                  </a:cubicBezTo>
                  <a:cubicBezTo>
                    <a:pt x="102326" y="200924"/>
                    <a:pt x="95660" y="209822"/>
                    <a:pt x="88195" y="218027"/>
                  </a:cubicBezTo>
                  <a:cubicBezTo>
                    <a:pt x="70732" y="238570"/>
                    <a:pt x="49714" y="263335"/>
                    <a:pt x="46221" y="307245"/>
                  </a:cubicBezTo>
                  <a:cubicBezTo>
                    <a:pt x="-5436" y="240665"/>
                    <a:pt x="31743" y="186341"/>
                    <a:pt x="70859" y="129159"/>
                  </a:cubicBez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52" name="Rectangle 51">
            <a:extLst>
              <a:ext uri="{FF2B5EF4-FFF2-40B4-BE49-F238E27FC236}">
                <a16:creationId xmlns:a16="http://schemas.microsoft.com/office/drawing/2014/main" id="{54140961-D367-FFB1-E0FC-3F385487D472}"/>
              </a:ext>
            </a:extLst>
          </p:cNvPr>
          <p:cNvSpPr/>
          <p:nvPr/>
        </p:nvSpPr>
        <p:spPr>
          <a:xfrm>
            <a:off x="1107653" y="2539188"/>
            <a:ext cx="4808960"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Call </a:t>
            </a:r>
            <a:r>
              <a:rPr lang="en-gb" sz="1200" b="1" i="0">
                <a:solidFill>
                  <a:srgbClr val="A8192D"/>
                </a:solidFill>
                <a:effectLst/>
              </a:rPr>
              <a:t>112 </a:t>
            </a:r>
            <a:r>
              <a:rPr lang="en-gb" sz="1200" b="0" i="0">
                <a:solidFill>
                  <a:schemeClr val="tx1"/>
                </a:solidFill>
                <a:effectLst/>
              </a:rPr>
              <a:t>immediately and describe the location of the fire as accurately as possible.</a:t>
            </a:r>
          </a:p>
        </p:txBody>
      </p:sp>
      <p:grpSp>
        <p:nvGrpSpPr>
          <p:cNvPr id="3" name="Group 2">
            <a:extLst>
              <a:ext uri="{FF2B5EF4-FFF2-40B4-BE49-F238E27FC236}">
                <a16:creationId xmlns:a16="http://schemas.microsoft.com/office/drawing/2014/main" id="{2D6035EB-21B7-A2AC-BF5F-3D0849CC3AE3}"/>
              </a:ext>
            </a:extLst>
          </p:cNvPr>
          <p:cNvGrpSpPr/>
          <p:nvPr/>
        </p:nvGrpSpPr>
        <p:grpSpPr>
          <a:xfrm>
            <a:off x="442913" y="2538660"/>
            <a:ext cx="576263" cy="612000"/>
            <a:chOff x="442913" y="2538660"/>
            <a:chExt cx="576263" cy="612000"/>
          </a:xfrm>
        </p:grpSpPr>
        <p:sp>
          <p:nvSpPr>
            <p:cNvPr id="57" name="Rectangle 56">
              <a:extLst>
                <a:ext uri="{FF2B5EF4-FFF2-40B4-BE49-F238E27FC236}">
                  <a16:creationId xmlns:a16="http://schemas.microsoft.com/office/drawing/2014/main" id="{A073C5EE-5299-ADD0-94D7-3170276FA166}"/>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8" name="L-Shape 57">
              <a:extLst>
                <a:ext uri="{FF2B5EF4-FFF2-40B4-BE49-F238E27FC236}">
                  <a16:creationId xmlns:a16="http://schemas.microsoft.com/office/drawing/2014/main" id="{1CA40E5F-52E1-906F-10FD-B5838577317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62" name="Rectangle 61">
            <a:extLst>
              <a:ext uri="{FF2B5EF4-FFF2-40B4-BE49-F238E27FC236}">
                <a16:creationId xmlns:a16="http://schemas.microsoft.com/office/drawing/2014/main" id="{2807FCC7-6EAD-0C0D-B605-03EEAC731F8C}"/>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US" dirty="0"/>
              <a:t>Fires in forests and peat bogs​</a:t>
            </a:r>
            <a:br>
              <a:rPr lang="lv-LV" dirty="0"/>
            </a:br>
            <a:r>
              <a:rPr lang="en-gb" dirty="0">
                <a:solidFill>
                  <a:srgbClr val="A8192D"/>
                </a:solidFill>
              </a:rPr>
              <a:t>How to proceed?</a:t>
            </a:r>
            <a:endParaRPr lang="en-GB" dirty="0">
              <a:solidFill>
                <a:srgbClr val="A8192D"/>
              </a:solidFill>
            </a:endParaRPr>
          </a:p>
        </p:txBody>
      </p:sp>
      <p:cxnSp>
        <p:nvCxnSpPr>
          <p:cNvPr id="55" name="Straight Connector 54">
            <a:extLst>
              <a:ext uri="{FF2B5EF4-FFF2-40B4-BE49-F238E27FC236}">
                <a16:creationId xmlns:a16="http://schemas.microsoft.com/office/drawing/2014/main" id="{41BD9CB5-1387-FE6E-96DE-C1E83115FF49}"/>
              </a:ext>
            </a:extLst>
          </p:cNvPr>
          <p:cNvCxnSpPr>
            <a:cxnSpLocks/>
          </p:cNvCxnSpPr>
          <p:nvPr/>
        </p:nvCxnSpPr>
        <p:spPr>
          <a:xfrm>
            <a:off x="6940550" y="3462045"/>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0" name="Straight Connector 59">
            <a:extLst>
              <a:ext uri="{FF2B5EF4-FFF2-40B4-BE49-F238E27FC236}">
                <a16:creationId xmlns:a16="http://schemas.microsoft.com/office/drawing/2014/main" id="{88D7CFA4-9630-9E6E-9558-B995D1763B49}"/>
              </a:ext>
            </a:extLst>
          </p:cNvPr>
          <p:cNvCxnSpPr>
            <a:cxnSpLocks/>
          </p:cNvCxnSpPr>
          <p:nvPr/>
        </p:nvCxnSpPr>
        <p:spPr>
          <a:xfrm>
            <a:off x="6940550" y="4497097"/>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0" name="Rectangle 69">
            <a:extLst>
              <a:ext uri="{FF2B5EF4-FFF2-40B4-BE49-F238E27FC236}">
                <a16:creationId xmlns:a16="http://schemas.microsoft.com/office/drawing/2014/main" id="{5EEF3BF7-AEB5-348C-D976-FA94F1ADC99F}"/>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4" name="Rectangle 63">
            <a:extLst>
              <a:ext uri="{FF2B5EF4-FFF2-40B4-BE49-F238E27FC236}">
                <a16:creationId xmlns:a16="http://schemas.microsoft.com/office/drawing/2014/main" id="{C8839363-023E-6108-2610-F9869562BA65}"/>
              </a:ext>
            </a:extLst>
          </p:cNvPr>
          <p:cNvSpPr/>
          <p:nvPr/>
        </p:nvSpPr>
        <p:spPr>
          <a:xfrm>
            <a:off x="6940550" y="2538413"/>
            <a:ext cx="4808538" cy="812212"/>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dirty="0">
                <a:solidFill>
                  <a:srgbClr val="212529"/>
                </a:solidFill>
                <a:effectLst/>
              </a:rPr>
              <a:t>If a forest fire starts as a result of a campfire, try to put it out immediately by hitting the flames with branches, a blanket or any other accessible object. </a:t>
            </a:r>
            <a:br>
              <a:rPr lang="en-US" sz="1200" b="0" i="0" dirty="0">
                <a:solidFill>
                  <a:srgbClr val="212529"/>
                </a:solidFill>
                <a:effectLst/>
              </a:rPr>
            </a:br>
            <a:r>
              <a:rPr lang="en-gb" sz="1200" b="1" i="0" dirty="0">
                <a:solidFill>
                  <a:srgbClr val="A8192D"/>
                </a:solidFill>
                <a:effectLst/>
              </a:rPr>
              <a:t>Remember! </a:t>
            </a:r>
            <a:r>
              <a:rPr lang="en-gb" sz="1200" b="0" i="0" spc="-30" dirty="0">
                <a:solidFill>
                  <a:srgbClr val="212529"/>
                </a:solidFill>
                <a:effectLst/>
              </a:rPr>
              <a:t>The fire shall be extinguished by oblique blows in the direction of the burned area.</a:t>
            </a:r>
          </a:p>
        </p:txBody>
      </p:sp>
      <p:sp>
        <p:nvSpPr>
          <p:cNvPr id="91" name="Rectangle 90">
            <a:extLst>
              <a:ext uri="{FF2B5EF4-FFF2-40B4-BE49-F238E27FC236}">
                <a16:creationId xmlns:a16="http://schemas.microsoft.com/office/drawing/2014/main" id="{923ED525-0203-6BC5-F3E8-8ABB7C0A1DD9}"/>
              </a:ext>
            </a:extLst>
          </p:cNvPr>
          <p:cNvSpPr/>
          <p:nvPr/>
        </p:nvSpPr>
        <p:spPr>
          <a:xfrm>
            <a:off x="6275388" y="2538670"/>
            <a:ext cx="576263" cy="81169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2" name="L-Shape 91">
            <a:extLst>
              <a:ext uri="{FF2B5EF4-FFF2-40B4-BE49-F238E27FC236}">
                <a16:creationId xmlns:a16="http://schemas.microsoft.com/office/drawing/2014/main" id="{97672140-6C3A-9556-1AB0-06A807124770}"/>
              </a:ext>
            </a:extLst>
          </p:cNvPr>
          <p:cNvSpPr/>
          <p:nvPr/>
        </p:nvSpPr>
        <p:spPr>
          <a:xfrm rot="13500000">
            <a:off x="6391782" y="2808131"/>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5" name="Rectangle 64">
            <a:extLst>
              <a:ext uri="{FF2B5EF4-FFF2-40B4-BE49-F238E27FC236}">
                <a16:creationId xmlns:a16="http://schemas.microsoft.com/office/drawing/2014/main" id="{6C9963BA-CB30-1A9A-495C-AC7D92B42F6A}"/>
              </a:ext>
            </a:extLst>
          </p:cNvPr>
          <p:cNvSpPr/>
          <p:nvPr/>
        </p:nvSpPr>
        <p:spPr>
          <a:xfrm>
            <a:off x="6940550" y="3575917"/>
            <a:ext cx="4808538" cy="80976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rgbClr val="212529"/>
                </a:solidFill>
                <a:effectLst/>
              </a:rPr>
              <a:t>If the fire cannot be extinguished, warn others immediately and move away from the fire to a road, woodland, field or reservoir.</a:t>
            </a:r>
          </a:p>
        </p:txBody>
      </p:sp>
      <p:sp>
        <p:nvSpPr>
          <p:cNvPr id="93" name="Rectangle 92">
            <a:extLst>
              <a:ext uri="{FF2B5EF4-FFF2-40B4-BE49-F238E27FC236}">
                <a16:creationId xmlns:a16="http://schemas.microsoft.com/office/drawing/2014/main" id="{D0E0A4D4-73EA-CBEB-4379-F0B1FF036634}"/>
              </a:ext>
            </a:extLst>
          </p:cNvPr>
          <p:cNvSpPr/>
          <p:nvPr/>
        </p:nvSpPr>
        <p:spPr>
          <a:xfrm>
            <a:off x="6275388" y="3576429"/>
            <a:ext cx="576263" cy="8087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4" name="L-Shape 93">
            <a:extLst>
              <a:ext uri="{FF2B5EF4-FFF2-40B4-BE49-F238E27FC236}">
                <a16:creationId xmlns:a16="http://schemas.microsoft.com/office/drawing/2014/main" id="{1B45DCE4-892C-EC8B-4496-9FC8EDE7A80C}"/>
              </a:ext>
            </a:extLst>
          </p:cNvPr>
          <p:cNvSpPr/>
          <p:nvPr/>
        </p:nvSpPr>
        <p:spPr>
          <a:xfrm rot="13500000">
            <a:off x="6391782" y="3844409"/>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6" name="Rectangle 65">
            <a:extLst>
              <a:ext uri="{FF2B5EF4-FFF2-40B4-BE49-F238E27FC236}">
                <a16:creationId xmlns:a16="http://schemas.microsoft.com/office/drawing/2014/main" id="{F013B6EF-6664-55FA-8A95-9B25B931D676}"/>
              </a:ext>
            </a:extLst>
          </p:cNvPr>
          <p:cNvSpPr/>
          <p:nvPr/>
        </p:nvSpPr>
        <p:spPr>
          <a:xfrm>
            <a:off x="6940550" y="4610969"/>
            <a:ext cx="4808538" cy="844003"/>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spc="-30">
                <a:solidFill>
                  <a:srgbClr val="212529"/>
                </a:solidFill>
                <a:effectLst/>
              </a:rPr>
              <a:t>Move perpendicular to the direction of fire spread. If it is not possible to leave the fire, immerse yourself in water or cover yourself with wet clothes. If you're in a wooded area, lean closer to the ground. </a:t>
            </a:r>
            <a:endParaRPr lang="en-US" sz="1200" b="0" i="0" spc="-30">
              <a:solidFill>
                <a:srgbClr val="212529"/>
              </a:solidFill>
              <a:effectLst/>
            </a:endParaRPr>
          </a:p>
          <a:p>
            <a:pPr algn="l" rtl="0"/>
            <a:r>
              <a:rPr lang="en-gb" sz="1200" b="1" i="0">
                <a:solidFill>
                  <a:srgbClr val="A8192D"/>
                </a:solidFill>
                <a:effectLst/>
              </a:rPr>
              <a:t>Remember! </a:t>
            </a:r>
            <a:r>
              <a:rPr lang="en-gb" sz="1200" b="0" i="0">
                <a:solidFill>
                  <a:srgbClr val="212529"/>
                </a:solidFill>
                <a:effectLst/>
              </a:rPr>
              <a:t>The air near the ground is less smoky.</a:t>
            </a:r>
          </a:p>
        </p:txBody>
      </p:sp>
      <p:sp>
        <p:nvSpPr>
          <p:cNvPr id="95" name="Rectangle 94">
            <a:extLst>
              <a:ext uri="{FF2B5EF4-FFF2-40B4-BE49-F238E27FC236}">
                <a16:creationId xmlns:a16="http://schemas.microsoft.com/office/drawing/2014/main" id="{443FAA3C-0F7C-AD6B-CBF1-68825DEE28EF}"/>
              </a:ext>
            </a:extLst>
          </p:cNvPr>
          <p:cNvSpPr/>
          <p:nvPr/>
        </p:nvSpPr>
        <p:spPr>
          <a:xfrm>
            <a:off x="6275388" y="4611502"/>
            <a:ext cx="576263" cy="8429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6" name="L-Shape 95">
            <a:extLst>
              <a:ext uri="{FF2B5EF4-FFF2-40B4-BE49-F238E27FC236}">
                <a16:creationId xmlns:a16="http://schemas.microsoft.com/office/drawing/2014/main" id="{F8E7CD43-EB84-01FE-1CF1-D4FC0D81A442}"/>
              </a:ext>
            </a:extLst>
          </p:cNvPr>
          <p:cNvSpPr/>
          <p:nvPr/>
        </p:nvSpPr>
        <p:spPr>
          <a:xfrm rot="13500000">
            <a:off x="6391782" y="4896582"/>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8</a:t>
            </a:fld>
            <a:endParaRPr lang="en-GB"/>
          </a:p>
        </p:txBody>
      </p:sp>
      <p:cxnSp>
        <p:nvCxnSpPr>
          <p:cNvPr id="12" name="Straight Connector 11">
            <a:extLst>
              <a:ext uri="{FF2B5EF4-FFF2-40B4-BE49-F238E27FC236}">
                <a16:creationId xmlns:a16="http://schemas.microsoft.com/office/drawing/2014/main" id="{115247EA-EE3B-31EE-8D48-4898D35A3280}"/>
              </a:ext>
            </a:extLst>
          </p:cNvPr>
          <p:cNvCxnSpPr>
            <a:cxnSpLocks/>
          </p:cNvCxnSpPr>
          <p:nvPr/>
        </p:nvCxnSpPr>
        <p:spPr>
          <a:xfrm>
            <a:off x="6940550" y="5566391"/>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4" name="Rectangle 13">
            <a:extLst>
              <a:ext uri="{FF2B5EF4-FFF2-40B4-BE49-F238E27FC236}">
                <a16:creationId xmlns:a16="http://schemas.microsoft.com/office/drawing/2014/main" id="{69CFE8AA-8BE2-A62E-A1B9-8B4AE9C53218}"/>
              </a:ext>
            </a:extLst>
          </p:cNvPr>
          <p:cNvSpPr/>
          <p:nvPr/>
        </p:nvSpPr>
        <p:spPr>
          <a:xfrm>
            <a:off x="6940550" y="5680261"/>
            <a:ext cx="4808538" cy="49822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200" b="0" i="0">
                <a:solidFill>
                  <a:schemeClr val="tx1"/>
                </a:solidFill>
                <a:effectLst/>
              </a:rPr>
              <a:t>If you leave the scene of a fire, call </a:t>
            </a:r>
            <a:r>
              <a:rPr lang="en-gb" sz="1200" b="1" i="0">
                <a:solidFill>
                  <a:srgbClr val="A8192D"/>
                </a:solidFill>
                <a:effectLst/>
              </a:rPr>
              <a:t>112</a:t>
            </a:r>
            <a:r>
              <a:rPr lang="en-gb" sz="1200" b="0" i="0">
                <a:solidFill>
                  <a:schemeClr val="tx1"/>
                </a:solidFill>
                <a:effectLst/>
              </a:rPr>
              <a:t> to report it. </a:t>
            </a:r>
            <a:endParaRPr lang="lv-LV" sz="1200" b="0" i="0" strike="sngStrike">
              <a:solidFill>
                <a:schemeClr val="tx1"/>
              </a:solidFill>
              <a:effectLst/>
              <a:cs typeface="Arial"/>
            </a:endParaRPr>
          </a:p>
        </p:txBody>
      </p:sp>
      <p:sp>
        <p:nvSpPr>
          <p:cNvPr id="18" name="Rectangle 17">
            <a:extLst>
              <a:ext uri="{FF2B5EF4-FFF2-40B4-BE49-F238E27FC236}">
                <a16:creationId xmlns:a16="http://schemas.microsoft.com/office/drawing/2014/main" id="{B8EA7805-296B-5D47-944C-D538156BAD89}"/>
              </a:ext>
            </a:extLst>
          </p:cNvPr>
          <p:cNvSpPr/>
          <p:nvPr/>
        </p:nvSpPr>
        <p:spPr>
          <a:xfrm>
            <a:off x="6275810" y="5679930"/>
            <a:ext cx="576263" cy="498882"/>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9" name="L-Shape 18">
            <a:extLst>
              <a:ext uri="{FF2B5EF4-FFF2-40B4-BE49-F238E27FC236}">
                <a16:creationId xmlns:a16="http://schemas.microsoft.com/office/drawing/2014/main" id="{C0C5A184-30D0-DA46-BFBE-D02A00834DD6}"/>
              </a:ext>
            </a:extLst>
          </p:cNvPr>
          <p:cNvSpPr/>
          <p:nvPr/>
        </p:nvSpPr>
        <p:spPr>
          <a:xfrm rot="13500000">
            <a:off x="6392204" y="5792983"/>
            <a:ext cx="272777" cy="272777"/>
          </a:xfrm>
          <a:prstGeom prst="corner">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pic>
        <p:nvPicPr>
          <p:cNvPr id="32" name="Picture 31">
            <a:extLst>
              <a:ext uri="{FF2B5EF4-FFF2-40B4-BE49-F238E27FC236}">
                <a16:creationId xmlns:a16="http://schemas.microsoft.com/office/drawing/2014/main" id="{81625016-7AFB-525A-A0DD-13D080F9F7C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1" b="228"/>
          <a:stretch/>
        </p:blipFill>
        <p:spPr>
          <a:xfrm>
            <a:off x="442912" y="3293937"/>
            <a:ext cx="5473701" cy="2878263"/>
          </a:xfrm>
          <a:prstGeom prst="rect">
            <a:avLst/>
          </a:prstGeom>
        </p:spPr>
      </p:pic>
      <p:grpSp>
        <p:nvGrpSpPr>
          <p:cNvPr id="13" name="Group 12">
            <a:extLst>
              <a:ext uri="{FF2B5EF4-FFF2-40B4-BE49-F238E27FC236}">
                <a16:creationId xmlns:a16="http://schemas.microsoft.com/office/drawing/2014/main" id="{88BF8F6F-AF88-7FD6-74A5-D4B1A5D4210B}"/>
              </a:ext>
            </a:extLst>
          </p:cNvPr>
          <p:cNvGrpSpPr/>
          <p:nvPr/>
        </p:nvGrpSpPr>
        <p:grpSpPr>
          <a:xfrm>
            <a:off x="9190780" y="159786"/>
            <a:ext cx="2558308" cy="217488"/>
            <a:chOff x="9190780" y="159786"/>
            <a:chExt cx="2558308" cy="217488"/>
          </a:xfrm>
        </p:grpSpPr>
        <p:sp>
          <p:nvSpPr>
            <p:cNvPr id="15" name="Rectangle 14">
              <a:extLst>
                <a:ext uri="{FF2B5EF4-FFF2-40B4-BE49-F238E27FC236}">
                  <a16:creationId xmlns:a16="http://schemas.microsoft.com/office/drawing/2014/main" id="{3DB07ECB-CF88-9CF5-3F3F-8BFA0F5EBA51}"/>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FBE3513D-DAE5-8B8D-416D-728D3477DE0F}"/>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C4C9103F-975F-E045-29CF-CA97A49DBC9A}"/>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825BB34B-8D03-E672-5802-CB5DAC2E7182}"/>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5280348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Kā rīkoties plūdu gadījumā? - YouTube">
            <a:hlinkClick r:id="rId3"/>
            <a:extLst>
              <a:ext uri="{FF2B5EF4-FFF2-40B4-BE49-F238E27FC236}">
                <a16:creationId xmlns:a16="http://schemas.microsoft.com/office/drawing/2014/main" id="{9C26B131-EE4A-A72C-3B74-EFE7FFE2982E}"/>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42912" y="2265968"/>
            <a:ext cx="5473701" cy="330393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6B892B62-9FE6-7195-9659-F4BD38D35FD4}"/>
              </a:ext>
            </a:extLst>
          </p:cNvPr>
          <p:cNvSpPr/>
          <p:nvPr/>
        </p:nvSpPr>
        <p:spPr>
          <a:xfrm>
            <a:off x="6275388" y="2263775"/>
            <a:ext cx="5473700" cy="39084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rtl="0"/>
            <a:endParaRPr lang="en-GB" sz="1400" b="1">
              <a:solidFill>
                <a:srgbClr val="C00000"/>
              </a:solidFil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lv-LV" dirty="0"/>
              <a:t>F</a:t>
            </a:r>
            <a:r>
              <a:rPr lang="en-gb" dirty="0" err="1"/>
              <a:t>loods</a:t>
            </a:r>
            <a:r>
              <a:rPr lang="en-gb" dirty="0"/>
              <a:t> and windstorms </a:t>
            </a:r>
            <a:br>
              <a:rPr lang="lv-LV" dirty="0"/>
            </a:br>
            <a:r>
              <a:rPr lang="en-gb" dirty="0">
                <a:solidFill>
                  <a:srgbClr val="A8192D"/>
                </a:solidFill>
              </a:rPr>
              <a:t>How to proceed?</a:t>
            </a:r>
            <a:endParaRPr lang="en-GB" dirty="0">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a:t>9</a:t>
            </a:fld>
            <a:endParaRPr lang="en-GB" dirty="0"/>
          </a:p>
        </p:txBody>
      </p:sp>
      <p:pic>
        <p:nvPicPr>
          <p:cNvPr id="12" name="Picture 11">
            <a:extLst>
              <a:ext uri="{FF2B5EF4-FFF2-40B4-BE49-F238E27FC236}">
                <a16:creationId xmlns:a16="http://schemas.microsoft.com/office/drawing/2014/main" id="{21F004BB-7F35-6516-5407-F9648253E3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40155" y="2355087"/>
            <a:ext cx="2144166" cy="3089243"/>
          </a:xfrm>
          <a:prstGeom prst="rect">
            <a:avLst/>
          </a:prstGeom>
          <a:ln>
            <a:solidFill>
              <a:schemeClr val="bg1">
                <a:lumMod val="65000"/>
              </a:schemeClr>
            </a:solidFill>
          </a:ln>
        </p:spPr>
      </p:pic>
      <p:sp>
        <p:nvSpPr>
          <p:cNvPr id="11" name="Rectangle 10">
            <a:extLst>
              <a:ext uri="{FF2B5EF4-FFF2-40B4-BE49-F238E27FC236}">
                <a16:creationId xmlns:a16="http://schemas.microsoft.com/office/drawing/2014/main" id="{59872D60-53BD-9E28-C32A-589EC492D6A2}"/>
              </a:ext>
            </a:extLst>
          </p:cNvPr>
          <p:cNvSpPr/>
          <p:nvPr/>
        </p:nvSpPr>
        <p:spPr>
          <a:xfrm>
            <a:off x="442913" y="1818146"/>
            <a:ext cx="11306175" cy="215444"/>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chorCtr="0">
            <a:spAutoFit/>
          </a:bodyPr>
          <a:lstStyle/>
          <a:p>
            <a:pPr rtl="0"/>
            <a:r>
              <a:rPr lang="en-gb" sz="1400" b="1">
                <a:solidFill>
                  <a:schemeClr val="tx1"/>
                </a:solidFill>
                <a:latin typeface="Arial" panose="020B0604020202020204" pitchFamily="34" charset="0"/>
              </a:rPr>
              <a:t>Check out the materials prepared by the State Fire and Rescue Service (SFRS):</a:t>
            </a:r>
            <a:endParaRPr lang="en-GB" sz="1400" b="1">
              <a:solidFill>
                <a:schemeClr val="tx1"/>
              </a:solidFill>
            </a:endParaRPr>
          </a:p>
        </p:txBody>
      </p:sp>
      <p:sp>
        <p:nvSpPr>
          <p:cNvPr id="22" name="TextBox 21">
            <a:extLst>
              <a:ext uri="{FF2B5EF4-FFF2-40B4-BE49-F238E27FC236}">
                <a16:creationId xmlns:a16="http://schemas.microsoft.com/office/drawing/2014/main" id="{81B98161-1410-B404-B256-A00C5427B84B}"/>
              </a:ext>
            </a:extLst>
          </p:cNvPr>
          <p:cNvSpPr txBox="1"/>
          <p:nvPr/>
        </p:nvSpPr>
        <p:spPr>
          <a:xfrm>
            <a:off x="968513" y="5559423"/>
            <a:ext cx="4948100" cy="612775"/>
          </a:xfrm>
          <a:prstGeom prst="rect">
            <a:avLst/>
          </a:prstGeom>
          <a:solidFill>
            <a:srgbClr val="6F8087"/>
          </a:solidFill>
        </p:spPr>
        <p:txBody>
          <a:bodyPr wrap="square" lIns="72000" tIns="72000" rIns="72000" bIns="72000" rtlCol="0" anchor="ctr" anchorCtr="0">
            <a:noAutofit/>
          </a:bodyPr>
          <a:lstStyle/>
          <a:p>
            <a:pPr rtl="0">
              <a:lnSpc>
                <a:spcPct val="100000"/>
              </a:lnSpc>
              <a:spcAft>
                <a:spcPts val="600"/>
              </a:spcAft>
              <a:buSzPct val="100000"/>
            </a:pPr>
            <a:r>
              <a:rPr lang="en-gb" sz="1400" b="1">
                <a:solidFill>
                  <a:schemeClr val="bg1"/>
                </a:solidFill>
                <a:hlinkClick r:id="rId3">
                  <a:extLst>
                    <a:ext uri="{A12FA001-AC4F-418D-AE19-62706E023703}">
                      <ahyp:hlinkClr xmlns:ahyp="http://schemas.microsoft.com/office/drawing/2018/hyperlinkcolor" val="tx"/>
                    </a:ext>
                  </a:extLst>
                </a:hlinkClick>
              </a:rPr>
              <a:t>Video "What to do in case of flooding?"</a:t>
            </a:r>
            <a:endParaRPr lang="en-US" sz="1400" b="1">
              <a:solidFill>
                <a:schemeClr val="bg1"/>
              </a:solidFill>
            </a:endParaRPr>
          </a:p>
        </p:txBody>
      </p:sp>
      <p:sp>
        <p:nvSpPr>
          <p:cNvPr id="9" name="Rectangle 8">
            <a:extLst>
              <a:ext uri="{FF2B5EF4-FFF2-40B4-BE49-F238E27FC236}">
                <a16:creationId xmlns:a16="http://schemas.microsoft.com/office/drawing/2014/main" id="{DB97CF5E-98B6-5250-EFEB-8444F6E5EA64}"/>
              </a:ext>
            </a:extLst>
          </p:cNvPr>
          <p:cNvSpPr/>
          <p:nvPr/>
        </p:nvSpPr>
        <p:spPr>
          <a:xfrm>
            <a:off x="6275388" y="5559423"/>
            <a:ext cx="54737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gb" sz="1400" b="1">
                <a:solidFill>
                  <a:schemeClr val="tx1"/>
                </a:solidFill>
                <a:hlinkClick r:id="rId6">
                  <a:extLst>
                    <a:ext uri="{A12FA001-AC4F-418D-AE19-62706E023703}">
                      <ahyp:hlinkClr xmlns:ahyp="http://schemas.microsoft.com/office/drawing/2018/hyperlinkcolor" val="tx"/>
                    </a:ext>
                  </a:extLst>
                </a:hlinkClick>
              </a:rPr>
              <a:t>Summary of SFRS material on floods</a:t>
            </a:r>
            <a:endParaRPr lang="lv-LV" sz="1400" b="1">
              <a:solidFill>
                <a:schemeClr val="tx1"/>
              </a:solidFill>
            </a:endParaRPr>
          </a:p>
        </p:txBody>
      </p:sp>
      <p:sp>
        <p:nvSpPr>
          <p:cNvPr id="10" name="Freeform 50">
            <a:extLst>
              <a:ext uri="{FF2B5EF4-FFF2-40B4-BE49-F238E27FC236}">
                <a16:creationId xmlns:a16="http://schemas.microsoft.com/office/drawing/2014/main" id="{A73BADFD-B587-11C9-EA10-9E94B7749268}"/>
              </a:ext>
            </a:extLst>
          </p:cNvPr>
          <p:cNvSpPr>
            <a:spLocks noChangeAspect="1"/>
          </p:cNvSpPr>
          <p:nvPr/>
        </p:nvSpPr>
        <p:spPr bwMode="auto">
          <a:xfrm>
            <a:off x="6405988" y="57242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sp>
        <p:nvSpPr>
          <p:cNvPr id="30" name="TextBox 29">
            <a:extLst>
              <a:ext uri="{FF2B5EF4-FFF2-40B4-BE49-F238E27FC236}">
                <a16:creationId xmlns:a16="http://schemas.microsoft.com/office/drawing/2014/main" id="{6EA076A3-9F56-F4D3-A944-A88916F82E7E}"/>
              </a:ext>
            </a:extLst>
          </p:cNvPr>
          <p:cNvSpPr txBox="1"/>
          <p:nvPr/>
        </p:nvSpPr>
        <p:spPr>
          <a:xfrm>
            <a:off x="442913" y="5559423"/>
            <a:ext cx="575999" cy="612775"/>
          </a:xfrm>
          <a:prstGeom prst="rect">
            <a:avLst/>
          </a:prstGeom>
          <a:solidFill>
            <a:srgbClr val="6F8087"/>
          </a:solidFill>
        </p:spPr>
        <p:txBody>
          <a:bodyPr wrap="square" lIns="0" tIns="0" rIns="0" bIns="0" rtlCol="0">
            <a:noAutofit/>
          </a:bodyPr>
          <a:lstStyle/>
          <a:p>
            <a:pPr marL="182880" indent="-182880" rtl="0">
              <a:lnSpc>
                <a:spcPct val="100000"/>
              </a:lnSpc>
              <a:spcAft>
                <a:spcPts val="600"/>
              </a:spcAft>
              <a:buSzPct val="100000"/>
              <a:buFont typeface="Arial"/>
              <a:buChar char="•"/>
            </a:pPr>
            <a:endParaRPr lang="lv-LV" sz="1600"/>
          </a:p>
        </p:txBody>
      </p:sp>
      <p:sp>
        <p:nvSpPr>
          <p:cNvPr id="31" name="Freeform 50">
            <a:extLst>
              <a:ext uri="{FF2B5EF4-FFF2-40B4-BE49-F238E27FC236}">
                <a16:creationId xmlns:a16="http://schemas.microsoft.com/office/drawing/2014/main" id="{E0BC72B1-58FB-C832-5C36-1189E2A14F05}"/>
              </a:ext>
            </a:extLst>
          </p:cNvPr>
          <p:cNvSpPr>
            <a:spLocks noChangeAspect="1"/>
          </p:cNvSpPr>
          <p:nvPr/>
        </p:nvSpPr>
        <p:spPr bwMode="auto">
          <a:xfrm>
            <a:off x="590235" y="572420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bg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grpSp>
        <p:nvGrpSpPr>
          <p:cNvPr id="13" name="Group 12">
            <a:extLst>
              <a:ext uri="{FF2B5EF4-FFF2-40B4-BE49-F238E27FC236}">
                <a16:creationId xmlns:a16="http://schemas.microsoft.com/office/drawing/2014/main" id="{88329574-6FFF-1613-9534-EA74F8187B9B}"/>
              </a:ext>
            </a:extLst>
          </p:cNvPr>
          <p:cNvGrpSpPr/>
          <p:nvPr/>
        </p:nvGrpSpPr>
        <p:grpSpPr>
          <a:xfrm>
            <a:off x="9190780" y="159786"/>
            <a:ext cx="2558308" cy="217488"/>
            <a:chOff x="9190780" y="159786"/>
            <a:chExt cx="2558308" cy="217488"/>
          </a:xfrm>
        </p:grpSpPr>
        <p:sp>
          <p:nvSpPr>
            <p:cNvPr id="14" name="Rectangle 13">
              <a:extLst>
                <a:ext uri="{FF2B5EF4-FFF2-40B4-BE49-F238E27FC236}">
                  <a16:creationId xmlns:a16="http://schemas.microsoft.com/office/drawing/2014/main" id="{396553E0-B0D4-2AFD-DF20-A690E7A67AA8}"/>
                </a:ext>
              </a:extLst>
            </p:cNvPr>
            <p:cNvSpPr/>
            <p:nvPr/>
          </p:nvSpPr>
          <p:spPr>
            <a:xfrm>
              <a:off x="9432606" y="159786"/>
              <a:ext cx="1833251"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dirty="0">
                  <a:ln>
                    <a:noFill/>
                  </a:ln>
                  <a:effectLst/>
                  <a:uLnTx/>
                  <a:uFillTx/>
                  <a:ea typeface="Georgia"/>
                  <a:cs typeface="Georgia"/>
                  <a:sym typeface="Georgia"/>
                </a:rPr>
                <a:t>Natural </a:t>
              </a:r>
              <a:r>
                <a:rPr lang="lv-LV" sz="800" b="1" i="0" u="none" strike="noStrike" kern="0" cap="none" spc="0" normalizeH="0" dirty="0" err="1">
                  <a:ln>
                    <a:noFill/>
                  </a:ln>
                  <a:effectLst/>
                  <a:uLnTx/>
                  <a:uFillTx/>
                  <a:ea typeface="Georgia"/>
                  <a:cs typeface="Georgia"/>
                  <a:sym typeface="Georgia"/>
                </a:rPr>
                <a:t>disasters</a:t>
              </a:r>
              <a:endParaRPr kumimoji="0" lang="en-US" sz="800" b="1" i="0" u="none" strike="noStrike" kern="0" cap="none" spc="0" normalizeH="0" baseline="0" dirty="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CAB606C4-E7BF-430B-51B8-1D4B74BFC718}"/>
                </a:ext>
              </a:extLst>
            </p:cNvPr>
            <p:cNvSpPr/>
            <p:nvPr/>
          </p:nvSpPr>
          <p:spPr>
            <a:xfrm>
              <a:off x="11291473" y="15978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solidFill>
                    <a:srgbClr val="A4A3B2"/>
                  </a:solidFill>
                  <a:ea typeface="Georgia"/>
                  <a:cs typeface="Georgia"/>
                  <a:sym typeface="Georgia"/>
                </a:rPr>
                <a:t>6</a:t>
              </a:r>
              <a:r>
                <a:rPr lang="en-gb" sz="800" b="1" i="0" u="none" strike="noStrike" kern="0" cap="none" spc="0" normalizeH="0">
                  <a:ln>
                    <a:noFill/>
                  </a:ln>
                  <a:solidFill>
                    <a:srgbClr val="A4A3B2"/>
                  </a:solidFill>
                  <a:effectLst/>
                  <a:uLnTx/>
                  <a:uFillTx/>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6" name="Rectangle 15">
              <a:extLst>
                <a:ext uri="{FF2B5EF4-FFF2-40B4-BE49-F238E27FC236}">
                  <a16:creationId xmlns:a16="http://schemas.microsoft.com/office/drawing/2014/main" id="{4D9AD624-5A23-DCB8-5007-78ADEBBF280C}"/>
                </a:ext>
              </a:extLst>
            </p:cNvPr>
            <p:cNvSpPr/>
            <p:nvPr/>
          </p:nvSpPr>
          <p:spPr>
            <a:xfrm>
              <a:off x="9190780" y="15978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kern="0">
                  <a:ea typeface="Georgia"/>
                  <a:cs typeface="Georgia"/>
                  <a:sym typeface="Georgia"/>
                </a:rPr>
                <a:t>6</a:t>
              </a:r>
              <a:r>
                <a:rPr lang="en-gb" sz="800" b="1" i="0" u="none" strike="noStrike" kern="0" cap="none" spc="0" normalizeH="0">
                  <a:ln>
                    <a:noFill/>
                  </a:ln>
                  <a:effectLst/>
                  <a:uLnTx/>
                  <a:uFillTx/>
                  <a:ea typeface="Georgia"/>
                  <a:cs typeface="Georgia"/>
                  <a:sym typeface="Georgia"/>
                </a:rPr>
                <a:t>.</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25F38FB2-9D3E-D8D3-9890-963A63CB6F8F}"/>
                </a:ext>
              </a:extLst>
            </p:cNvPr>
            <p:cNvSpPr/>
            <p:nvPr/>
          </p:nvSpPr>
          <p:spPr>
            <a:xfrm>
              <a:off x="11533088" y="159786"/>
              <a:ext cx="216000" cy="217488"/>
            </a:xfrm>
            <a:prstGeom prst="rect">
              <a:avLst/>
            </a:prstGeom>
            <a:solidFill>
              <a:srgbClr val="F2F2F2"/>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6.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229074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2086,35,Sources of information (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Annemarija Apine (LV)</DisplayName>
        <AccountId>12</AccountId>
        <AccountType/>
      </UserInfo>
      <UserInfo>
        <DisplayName>Petro Petrashko (UA)</DisplayName>
        <AccountId>118</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481255-EA56-4F4C-90A3-4605E2895C6F}">
  <ds:schemaRefs>
    <ds:schemaRef ds:uri="51cb120f-d312-4c6b-a4cc-bcc7f473426d"/>
    <ds:schemaRef ds:uri="http://schemas.microsoft.com/office/2006/metadata/properties"/>
    <ds:schemaRef ds:uri="http://schemas.microsoft.com/office/infopath/2007/PartnerControls"/>
    <ds:schemaRef ds:uri="http://purl.org/dc/terms/"/>
    <ds:schemaRef ds:uri="http://purl.org/dc/elements/1.1/"/>
    <ds:schemaRef ds:uri="http://schemas.microsoft.com/office/2006/documentManagement/types"/>
    <ds:schemaRef ds:uri="http://purl.org/dc/dcmitype/"/>
    <ds:schemaRef ds:uri="http://schemas.openxmlformats.org/package/2006/metadata/core-properties"/>
    <ds:schemaRef ds:uri="d4c41ca5-56e0-486b-8028-8e1cdea398f5"/>
    <ds:schemaRef ds:uri="http://www.w3.org/XML/1998/namespace"/>
  </ds:schemaRefs>
</ds:datastoreItem>
</file>

<file path=customXml/itemProps2.xml><?xml version="1.0" encoding="utf-8"?>
<ds:datastoreItem xmlns:ds="http://schemas.openxmlformats.org/officeDocument/2006/customXml" ds:itemID="{67852F70-4B92-4666-BCCF-F61E6377FB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8D0FF63-4F60-4340-A249-7874CC7B78A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182</TotalTime>
  <Words>5865</Words>
  <Application>Microsoft Office PowerPoint</Application>
  <PresentationFormat>Widescreen</PresentationFormat>
  <Paragraphs>531</Paragraphs>
  <Slides>36</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5" baseType="lpstr">
      <vt:lpstr>Aptos</vt:lpstr>
      <vt:lpstr>Arial</vt:lpstr>
      <vt:lpstr>Arial Narrow</vt:lpstr>
      <vt:lpstr>Calibri</vt:lpstr>
      <vt:lpstr>Georgia</vt:lpstr>
      <vt:lpstr>Open Sans</vt:lpstr>
      <vt:lpstr>Times New Roman</vt:lpstr>
      <vt:lpstr>PwC</vt:lpstr>
      <vt:lpstr>think-cell Slide</vt:lpstr>
      <vt:lpstr>PowerPoint Presentation</vt:lpstr>
      <vt:lpstr>Tasks</vt:lpstr>
      <vt:lpstr>Table of contents</vt:lpstr>
      <vt:lpstr>Introductory discussion with learners on emergency preparedness</vt:lpstr>
      <vt:lpstr>Categorisation of disasters according to cause Natural disasters</vt:lpstr>
      <vt:lpstr>Categorisation of disasters according to cause Anthropogenic or man-made disasters </vt:lpstr>
      <vt:lpstr>6.1. Natural disasters</vt:lpstr>
      <vt:lpstr>Fires in forests and peat bogs​ How to proceed?</vt:lpstr>
      <vt:lpstr>Floods and windstorms  How to proceed?</vt:lpstr>
      <vt:lpstr>Torrential rain, persistent rain and hail How to proceed?</vt:lpstr>
      <vt:lpstr>Thunderstorms and strong winds How to proceed? (1/4)</vt:lpstr>
      <vt:lpstr>Thunderstorms and strong winds How to proceed? (2/4)</vt:lpstr>
      <vt:lpstr>Thunderstorms and strong winds How to proceed? (3/4)</vt:lpstr>
      <vt:lpstr>Thunderstorms and strong winds How to proceed? (4/4)</vt:lpstr>
      <vt:lpstr>Severe cold, heat, drought How to proceed?</vt:lpstr>
      <vt:lpstr>Snow and blizzards, ice and wet snow How to proceed?</vt:lpstr>
      <vt:lpstr>Earthquakes  How to proceed?</vt:lpstr>
      <vt:lpstr>6.2. Anthropogenic disasters</vt:lpstr>
      <vt:lpstr>Fires How to proceed?</vt:lpstr>
      <vt:lpstr>Road traffic accident How to proceed?</vt:lpstr>
      <vt:lpstr>Collapse of structures How to proceed?</vt:lpstr>
      <vt:lpstr>On-site release of hazardous chemicals How to proceed? (1/2)</vt:lpstr>
      <vt:lpstr>On-site release of hazardous chemicals How to proceed? (2/2)</vt:lpstr>
      <vt:lpstr>Radiation accidents How to proceed? (1/4)</vt:lpstr>
      <vt:lpstr>Radiation accidents How to proceed? (2/4)</vt:lpstr>
      <vt:lpstr>Radiation accidents How to proceed? (3/4)</vt:lpstr>
      <vt:lpstr>Radiation accidents How to proceed? (4/4)</vt:lpstr>
      <vt:lpstr>6.3. Individual resilience</vt:lpstr>
      <vt:lpstr>Items and supplies needed in the event of a temporary evacuation </vt:lpstr>
      <vt:lpstr>Items and supplies needed in the event of a prolonged evacuation </vt:lpstr>
      <vt:lpstr>Home emergency kit </vt:lpstr>
      <vt:lpstr>Evacuation</vt:lpstr>
      <vt:lpstr>Establishment of shelters and their requirements</vt:lpstr>
      <vt:lpstr>Establishment of shelters and their requirements</vt:lpstr>
      <vt:lpstr>Sources of information (1/2)</vt:lpstr>
      <vt:lpstr>Sources of information (2/2)</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Sindija Kirsteine (LV)</cp:lastModifiedBy>
  <cp:revision>16</cp:revision>
  <dcterms:created xsi:type="dcterms:W3CDTF">2024-05-09T17:46:36Z</dcterms:created>
  <dcterms:modified xsi:type="dcterms:W3CDTF">2024-09-02T07:21:4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